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omments/modernComment_2807_768C939D.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7FFFDD62_B716EFE2.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900" r:id="rId4"/>
    <p:sldMasterId id="2147483852" r:id="rId5"/>
    <p:sldMasterId id="2147483907" r:id="rId6"/>
  </p:sldMasterIdLst>
  <p:notesMasterIdLst>
    <p:notesMasterId r:id="rId21"/>
  </p:notesMasterIdLst>
  <p:handoutMasterIdLst>
    <p:handoutMasterId r:id="rId22"/>
  </p:handoutMasterIdLst>
  <p:sldIdLst>
    <p:sldId id="260" r:id="rId7"/>
    <p:sldId id="10247" r:id="rId8"/>
    <p:sldId id="2147474787" r:id="rId9"/>
    <p:sldId id="885" r:id="rId10"/>
    <p:sldId id="297" r:id="rId11"/>
    <p:sldId id="2147474786" r:id="rId12"/>
    <p:sldId id="289" r:id="rId13"/>
    <p:sldId id="290" r:id="rId14"/>
    <p:sldId id="291" r:id="rId15"/>
    <p:sldId id="293" r:id="rId16"/>
    <p:sldId id="292" r:id="rId17"/>
    <p:sldId id="299" r:id="rId18"/>
    <p:sldId id="300" r:id="rId19"/>
    <p:sldId id="271" r:id="rId20"/>
  </p:sldIdLst>
  <p:sldSz cx="12192000" cy="6858000"/>
  <p:notesSz cx="6858000" cy="9144000"/>
  <p:embeddedFontLst>
    <p:embeddedFont>
      <p:font typeface="Ellab Sans" panose="02000503000000020004" pitchFamily="2" charset="0"/>
      <p:regular r:id="rId23"/>
      <p:bold r:id="rId24"/>
      <p:italic r:id="rId25"/>
      <p:boldItalic r:id="rId26"/>
    </p:embeddedFont>
    <p:embeddedFont>
      <p:font typeface="Ellab Sans SemiBold" panose="02000703000000020004" pitchFamily="2" charset="0"/>
      <p:bold r:id="rId27"/>
      <p:boldItalic r:id="rId28"/>
    </p:embeddedFont>
  </p:embeddedFontLst>
  <p:defaultTextStyle>
    <a:defPPr>
      <a:defRPr lang="da-DK"/>
    </a:defPPr>
    <a:lvl1pPr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p:defaultTextStyle>
  <p:extLst>
    <p:ext uri="{521415D9-36F7-43E2-AB2F-B90AF26B5E84}">
      <p14:sectionLst xmlns:p14="http://schemas.microsoft.com/office/powerpoint/2010/main">
        <p14:section name="Ikke-navngivet sektion" id="{EFF1556F-0D05-8747-A1B2-8A18DD99C842}">
          <p14:sldIdLst>
            <p14:sldId id="260"/>
            <p14:sldId id="10247"/>
            <p14:sldId id="2147474787"/>
            <p14:sldId id="885"/>
            <p14:sldId id="297"/>
            <p14:sldId id="2147474786"/>
            <p14:sldId id="289"/>
            <p14:sldId id="290"/>
            <p14:sldId id="291"/>
            <p14:sldId id="293"/>
            <p14:sldId id="292"/>
            <p14:sldId id="299"/>
            <p14:sldId id="300"/>
            <p14:sldId id="27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25C0D-383D-4069-BB9F-436C5AB1BB87}" name="Thomas W. Flanagan" initials="TW" userId="S::twf@ellab.com::2859ba47-2415-45f6-8b6c-b1e23376e9ef" providerId="AD"/>
  <p188:author id="{660D5641-7714-E43B-4EDD-9B9EC585A4E2}" name="Andreas Kößler" initials="AK" userId="S::ako@ellab.com::00c157eb-ce4c-456e-be81-305662002215" providerId="AD"/>
  <p188:author id="{506562AE-CED7-245D-BDA2-AE86D6EDDE00}" name="Dominic Hein" initials="DH" userId="S::dhe@ellab.com::0577efcc-d15d-4be4-9167-f21f3bfbf07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48AB52-FD37-46FA-A16C-2F9835D3C0D5}" v="216" dt="2025-07-16T11:41:27.722"/>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14" autoAdjust="0"/>
    <p:restoredTop sz="94682"/>
  </p:normalViewPr>
  <p:slideViewPr>
    <p:cSldViewPr snapToGrid="0" showGuides="1">
      <p:cViewPr>
        <p:scale>
          <a:sx n="75" d="100"/>
          <a:sy n="75" d="100"/>
        </p:scale>
        <p:origin x="2790" y="1776"/>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3.fntdata"/><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2.fntdata"/><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1.fntdata"/><Relationship Id="rId28" Type="http://schemas.openxmlformats.org/officeDocument/2006/relationships/font" Target="fonts/font6.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ksandra Szejko" userId="72bb44d8-1e0c-4109-be82-c57a4fb81907" providerId="ADAL" clId="{7E009693-8AF0-4C7B-BE78-F8E85576930E}"/>
    <pc:docChg chg="undo custSel modSld">
      <pc:chgData name="Aleksandra Szejko" userId="72bb44d8-1e0c-4109-be82-c57a4fb81907" providerId="ADAL" clId="{7E009693-8AF0-4C7B-BE78-F8E85576930E}" dt="2025-07-17T09:02:22.032" v="85" actId="207"/>
      <pc:docMkLst>
        <pc:docMk/>
      </pc:docMkLst>
      <pc:sldChg chg="modSp mod">
        <pc:chgData name="Aleksandra Szejko" userId="72bb44d8-1e0c-4109-be82-c57a4fb81907" providerId="ADAL" clId="{7E009693-8AF0-4C7B-BE78-F8E85576930E}" dt="2025-07-17T09:02:22.032" v="85" actId="207"/>
        <pc:sldMkLst>
          <pc:docMk/>
          <pc:sldMk cId="3629572889" sldId="289"/>
        </pc:sldMkLst>
        <pc:spChg chg="mod">
          <ac:chgData name="Aleksandra Szejko" userId="72bb44d8-1e0c-4109-be82-c57a4fb81907" providerId="ADAL" clId="{7E009693-8AF0-4C7B-BE78-F8E85576930E}" dt="2025-07-17T09:02:22.032" v="85" actId="207"/>
          <ac:spMkLst>
            <pc:docMk/>
            <pc:sldMk cId="3629572889" sldId="289"/>
            <ac:spMk id="12" creationId="{E830A664-2EEA-C8C3-76CD-3342AAD556CF}"/>
          </ac:spMkLst>
        </pc:spChg>
      </pc:sldChg>
    </pc:docChg>
  </pc:docChgLst>
  <pc:docChgLst>
    <pc:chgData name="Aleksandra Szejko" userId="72bb44d8-1e0c-4109-be82-c57a4fb81907" providerId="ADAL" clId="{F148AB52-FD37-46FA-A16C-2F9835D3C0D5}"/>
    <pc:docChg chg="undo redo custSel addSld delSld modSld modSection">
      <pc:chgData name="Aleksandra Szejko" userId="72bb44d8-1e0c-4109-be82-c57a4fb81907" providerId="ADAL" clId="{F148AB52-FD37-46FA-A16C-2F9835D3C0D5}" dt="2025-07-16T11:42:57.693" v="883" actId="34135"/>
      <pc:docMkLst>
        <pc:docMk/>
      </pc:docMkLst>
      <pc:sldChg chg="modSp mod">
        <pc:chgData name="Aleksandra Szejko" userId="72bb44d8-1e0c-4109-be82-c57a4fb81907" providerId="ADAL" clId="{F148AB52-FD37-46FA-A16C-2F9835D3C0D5}" dt="2025-07-16T09:37:54.788" v="158"/>
        <pc:sldMkLst>
          <pc:docMk/>
          <pc:sldMk cId="4249952416" sldId="260"/>
        </pc:sldMkLst>
        <pc:spChg chg="mod">
          <ac:chgData name="Aleksandra Szejko" userId="72bb44d8-1e0c-4109-be82-c57a4fb81907" providerId="ADAL" clId="{F148AB52-FD37-46FA-A16C-2F9835D3C0D5}" dt="2025-07-16T09:37:54.788" v="158"/>
          <ac:spMkLst>
            <pc:docMk/>
            <pc:sldMk cId="4249952416" sldId="260"/>
            <ac:spMk id="2" creationId="{A0441B0C-CFBC-B566-A41C-4C1CB8320C01}"/>
          </ac:spMkLst>
        </pc:spChg>
      </pc:sldChg>
      <pc:sldChg chg="modSp del mod">
        <pc:chgData name="Aleksandra Szejko" userId="72bb44d8-1e0c-4109-be82-c57a4fb81907" providerId="ADAL" clId="{F148AB52-FD37-46FA-A16C-2F9835D3C0D5}" dt="2025-07-16T09:35:31.942" v="153" actId="47"/>
        <pc:sldMkLst>
          <pc:docMk/>
          <pc:sldMk cId="2062685827" sldId="263"/>
        </pc:sldMkLst>
        <pc:spChg chg="mod">
          <ac:chgData name="Aleksandra Szejko" userId="72bb44d8-1e0c-4109-be82-c57a4fb81907" providerId="ADAL" clId="{F148AB52-FD37-46FA-A16C-2F9835D3C0D5}" dt="2025-07-16T09:33:38.075" v="141" actId="790"/>
          <ac:spMkLst>
            <pc:docMk/>
            <pc:sldMk cId="2062685827" sldId="263"/>
            <ac:spMk id="2" creationId="{276A1F3D-6321-7644-254C-E4F89B5A0415}"/>
          </ac:spMkLst>
        </pc:spChg>
        <pc:spChg chg="mod">
          <ac:chgData name="Aleksandra Szejko" userId="72bb44d8-1e0c-4109-be82-c57a4fb81907" providerId="ADAL" clId="{F148AB52-FD37-46FA-A16C-2F9835D3C0D5}" dt="2025-07-16T09:33:38.075" v="141" actId="790"/>
          <ac:spMkLst>
            <pc:docMk/>
            <pc:sldMk cId="2062685827" sldId="263"/>
            <ac:spMk id="3" creationId="{26949840-6907-D61A-83D4-205C0A65F8E0}"/>
          </ac:spMkLst>
        </pc:spChg>
        <pc:spChg chg="mod">
          <ac:chgData name="Aleksandra Szejko" userId="72bb44d8-1e0c-4109-be82-c57a4fb81907" providerId="ADAL" clId="{F148AB52-FD37-46FA-A16C-2F9835D3C0D5}" dt="2025-07-16T09:33:38.075" v="141" actId="790"/>
          <ac:spMkLst>
            <pc:docMk/>
            <pc:sldMk cId="2062685827" sldId="263"/>
            <ac:spMk id="4" creationId="{FFB12D5D-EE1C-498F-1AE4-52A17648922D}"/>
          </ac:spMkLst>
        </pc:spChg>
        <pc:spChg chg="mod">
          <ac:chgData name="Aleksandra Szejko" userId="72bb44d8-1e0c-4109-be82-c57a4fb81907" providerId="ADAL" clId="{F148AB52-FD37-46FA-A16C-2F9835D3C0D5}" dt="2025-07-16T09:33:38.075" v="141" actId="790"/>
          <ac:spMkLst>
            <pc:docMk/>
            <pc:sldMk cId="2062685827" sldId="263"/>
            <ac:spMk id="5" creationId="{61BBFBCC-9539-3C04-0E0A-F1652EEBDDA7}"/>
          </ac:spMkLst>
        </pc:spChg>
      </pc:sldChg>
      <pc:sldChg chg="modSp del mod">
        <pc:chgData name="Aleksandra Szejko" userId="72bb44d8-1e0c-4109-be82-c57a4fb81907" providerId="ADAL" clId="{F148AB52-FD37-46FA-A16C-2F9835D3C0D5}" dt="2025-07-16T09:35:31.942" v="153" actId="47"/>
        <pc:sldMkLst>
          <pc:docMk/>
          <pc:sldMk cId="1895287053" sldId="264"/>
        </pc:sldMkLst>
        <pc:spChg chg="mod">
          <ac:chgData name="Aleksandra Szejko" userId="72bb44d8-1e0c-4109-be82-c57a4fb81907" providerId="ADAL" clId="{F148AB52-FD37-46FA-A16C-2F9835D3C0D5}" dt="2025-07-16T09:33:38.075" v="141" actId="790"/>
          <ac:spMkLst>
            <pc:docMk/>
            <pc:sldMk cId="1895287053" sldId="264"/>
            <ac:spMk id="2" creationId="{E85D3DFA-A7F6-0D76-E3B7-366278C92E5F}"/>
          </ac:spMkLst>
        </pc:spChg>
        <pc:spChg chg="mod">
          <ac:chgData name="Aleksandra Szejko" userId="72bb44d8-1e0c-4109-be82-c57a4fb81907" providerId="ADAL" clId="{F148AB52-FD37-46FA-A16C-2F9835D3C0D5}" dt="2025-07-16T09:33:38.075" v="141" actId="790"/>
          <ac:spMkLst>
            <pc:docMk/>
            <pc:sldMk cId="1895287053" sldId="264"/>
            <ac:spMk id="3" creationId="{72B7183F-297A-5E27-C49F-6225ADE67BF6}"/>
          </ac:spMkLst>
        </pc:spChg>
        <pc:spChg chg="mod">
          <ac:chgData name="Aleksandra Szejko" userId="72bb44d8-1e0c-4109-be82-c57a4fb81907" providerId="ADAL" clId="{F148AB52-FD37-46FA-A16C-2F9835D3C0D5}" dt="2025-07-16T09:33:38.075" v="141" actId="790"/>
          <ac:spMkLst>
            <pc:docMk/>
            <pc:sldMk cId="1895287053" sldId="264"/>
            <ac:spMk id="4" creationId="{DF187246-608B-C4F9-DD5F-0A600041D7B0}"/>
          </ac:spMkLst>
        </pc:spChg>
        <pc:spChg chg="mod">
          <ac:chgData name="Aleksandra Szejko" userId="72bb44d8-1e0c-4109-be82-c57a4fb81907" providerId="ADAL" clId="{F148AB52-FD37-46FA-A16C-2F9835D3C0D5}" dt="2025-07-16T09:33:38.075" v="141" actId="790"/>
          <ac:spMkLst>
            <pc:docMk/>
            <pc:sldMk cId="1895287053" sldId="264"/>
            <ac:spMk id="5" creationId="{0B5BD0D8-498A-D295-F5A1-FA18E9DC03F3}"/>
          </ac:spMkLst>
        </pc:spChg>
      </pc:sldChg>
      <pc:sldChg chg="modSp del mod">
        <pc:chgData name="Aleksandra Szejko" userId="72bb44d8-1e0c-4109-be82-c57a4fb81907" providerId="ADAL" clId="{F148AB52-FD37-46FA-A16C-2F9835D3C0D5}" dt="2025-07-16T09:35:31.942" v="153" actId="47"/>
        <pc:sldMkLst>
          <pc:docMk/>
          <pc:sldMk cId="2310000406" sldId="265"/>
        </pc:sldMkLst>
        <pc:spChg chg="mod">
          <ac:chgData name="Aleksandra Szejko" userId="72bb44d8-1e0c-4109-be82-c57a4fb81907" providerId="ADAL" clId="{F148AB52-FD37-46FA-A16C-2F9835D3C0D5}" dt="2025-07-16T09:33:38.075" v="141" actId="790"/>
          <ac:spMkLst>
            <pc:docMk/>
            <pc:sldMk cId="2310000406" sldId="265"/>
            <ac:spMk id="2" creationId="{E808EEFE-8390-229E-D282-A236E04D5D75}"/>
          </ac:spMkLst>
        </pc:spChg>
        <pc:spChg chg="mod">
          <ac:chgData name="Aleksandra Szejko" userId="72bb44d8-1e0c-4109-be82-c57a4fb81907" providerId="ADAL" clId="{F148AB52-FD37-46FA-A16C-2F9835D3C0D5}" dt="2025-07-16T09:33:38.075" v="141" actId="790"/>
          <ac:spMkLst>
            <pc:docMk/>
            <pc:sldMk cId="2310000406" sldId="265"/>
            <ac:spMk id="3" creationId="{3EEC41B6-3287-84F2-B1AA-83BA434C4072}"/>
          </ac:spMkLst>
        </pc:spChg>
        <pc:spChg chg="mod">
          <ac:chgData name="Aleksandra Szejko" userId="72bb44d8-1e0c-4109-be82-c57a4fb81907" providerId="ADAL" clId="{F148AB52-FD37-46FA-A16C-2F9835D3C0D5}" dt="2025-07-16T09:33:38.075" v="141" actId="790"/>
          <ac:spMkLst>
            <pc:docMk/>
            <pc:sldMk cId="2310000406" sldId="265"/>
            <ac:spMk id="4" creationId="{5980E89B-942F-420A-5F37-95EEBD9FB970}"/>
          </ac:spMkLst>
        </pc:spChg>
        <pc:spChg chg="mod">
          <ac:chgData name="Aleksandra Szejko" userId="72bb44d8-1e0c-4109-be82-c57a4fb81907" providerId="ADAL" clId="{F148AB52-FD37-46FA-A16C-2F9835D3C0D5}" dt="2025-07-16T09:33:38.075" v="141" actId="790"/>
          <ac:spMkLst>
            <pc:docMk/>
            <pc:sldMk cId="2310000406" sldId="265"/>
            <ac:spMk id="5" creationId="{A869C855-CD50-55EC-736B-D02DA187C95C}"/>
          </ac:spMkLst>
        </pc:spChg>
      </pc:sldChg>
      <pc:sldChg chg="modSp del mod">
        <pc:chgData name="Aleksandra Szejko" userId="72bb44d8-1e0c-4109-be82-c57a4fb81907" providerId="ADAL" clId="{F148AB52-FD37-46FA-A16C-2F9835D3C0D5}" dt="2025-07-16T09:35:31.942" v="153" actId="47"/>
        <pc:sldMkLst>
          <pc:docMk/>
          <pc:sldMk cId="4028839503" sldId="266"/>
        </pc:sldMkLst>
        <pc:spChg chg="mod">
          <ac:chgData name="Aleksandra Szejko" userId="72bb44d8-1e0c-4109-be82-c57a4fb81907" providerId="ADAL" clId="{F148AB52-FD37-46FA-A16C-2F9835D3C0D5}" dt="2025-07-16T09:33:38.075" v="141" actId="790"/>
          <ac:spMkLst>
            <pc:docMk/>
            <pc:sldMk cId="4028839503" sldId="266"/>
            <ac:spMk id="2" creationId="{60DE3FB0-6722-26E6-D6EC-8D82B8C9FC2B}"/>
          </ac:spMkLst>
        </pc:spChg>
        <pc:spChg chg="mod">
          <ac:chgData name="Aleksandra Szejko" userId="72bb44d8-1e0c-4109-be82-c57a4fb81907" providerId="ADAL" clId="{F148AB52-FD37-46FA-A16C-2F9835D3C0D5}" dt="2025-07-16T09:33:38.075" v="141" actId="790"/>
          <ac:spMkLst>
            <pc:docMk/>
            <pc:sldMk cId="4028839503" sldId="266"/>
            <ac:spMk id="3" creationId="{F257575D-8E6A-6EAC-3DD0-BFA3C09D2885}"/>
          </ac:spMkLst>
        </pc:spChg>
        <pc:spChg chg="mod">
          <ac:chgData name="Aleksandra Szejko" userId="72bb44d8-1e0c-4109-be82-c57a4fb81907" providerId="ADAL" clId="{F148AB52-FD37-46FA-A16C-2F9835D3C0D5}" dt="2025-07-16T09:33:38.075" v="141" actId="790"/>
          <ac:spMkLst>
            <pc:docMk/>
            <pc:sldMk cId="4028839503" sldId="266"/>
            <ac:spMk id="4" creationId="{1565C040-2B5F-EAEE-A23E-D49021E827EE}"/>
          </ac:spMkLst>
        </pc:spChg>
      </pc:sldChg>
      <pc:sldChg chg="modSp del mod">
        <pc:chgData name="Aleksandra Szejko" userId="72bb44d8-1e0c-4109-be82-c57a4fb81907" providerId="ADAL" clId="{F148AB52-FD37-46FA-A16C-2F9835D3C0D5}" dt="2025-07-16T09:35:31.942" v="153" actId="47"/>
        <pc:sldMkLst>
          <pc:docMk/>
          <pc:sldMk cId="3523430096" sldId="267"/>
        </pc:sldMkLst>
        <pc:spChg chg="mod">
          <ac:chgData name="Aleksandra Szejko" userId="72bb44d8-1e0c-4109-be82-c57a4fb81907" providerId="ADAL" clId="{F148AB52-FD37-46FA-A16C-2F9835D3C0D5}" dt="2025-07-16T09:33:38.075" v="141" actId="790"/>
          <ac:spMkLst>
            <pc:docMk/>
            <pc:sldMk cId="3523430096" sldId="267"/>
            <ac:spMk id="2" creationId="{AB9282B4-9824-5C92-755D-362C70B847C5}"/>
          </ac:spMkLst>
        </pc:spChg>
        <pc:spChg chg="mod">
          <ac:chgData name="Aleksandra Szejko" userId="72bb44d8-1e0c-4109-be82-c57a4fb81907" providerId="ADAL" clId="{F148AB52-FD37-46FA-A16C-2F9835D3C0D5}" dt="2025-07-16T09:33:38.075" v="141" actId="790"/>
          <ac:spMkLst>
            <pc:docMk/>
            <pc:sldMk cId="3523430096" sldId="267"/>
            <ac:spMk id="3" creationId="{614D3090-F5BB-3D85-A1F0-07060557E8B0}"/>
          </ac:spMkLst>
        </pc:spChg>
      </pc:sldChg>
      <pc:sldChg chg="modSp del mod">
        <pc:chgData name="Aleksandra Szejko" userId="72bb44d8-1e0c-4109-be82-c57a4fb81907" providerId="ADAL" clId="{F148AB52-FD37-46FA-A16C-2F9835D3C0D5}" dt="2025-07-16T09:35:31.942" v="153" actId="47"/>
        <pc:sldMkLst>
          <pc:docMk/>
          <pc:sldMk cId="4219826934" sldId="268"/>
        </pc:sldMkLst>
        <pc:spChg chg="mod">
          <ac:chgData name="Aleksandra Szejko" userId="72bb44d8-1e0c-4109-be82-c57a4fb81907" providerId="ADAL" clId="{F148AB52-FD37-46FA-A16C-2F9835D3C0D5}" dt="2025-07-16T09:33:38.075" v="141" actId="790"/>
          <ac:spMkLst>
            <pc:docMk/>
            <pc:sldMk cId="4219826934" sldId="268"/>
            <ac:spMk id="2" creationId="{6C1EC229-3787-68D6-9490-FB7F3F5D1F23}"/>
          </ac:spMkLst>
        </pc:spChg>
        <pc:spChg chg="mod">
          <ac:chgData name="Aleksandra Szejko" userId="72bb44d8-1e0c-4109-be82-c57a4fb81907" providerId="ADAL" clId="{F148AB52-FD37-46FA-A16C-2F9835D3C0D5}" dt="2025-07-16T09:33:38.075" v="141" actId="790"/>
          <ac:spMkLst>
            <pc:docMk/>
            <pc:sldMk cId="4219826934" sldId="268"/>
            <ac:spMk id="3" creationId="{91C97CBA-2E55-3DFB-16C4-2508A367E86C}"/>
          </ac:spMkLst>
        </pc:spChg>
      </pc:sldChg>
      <pc:sldChg chg="modSp del mod">
        <pc:chgData name="Aleksandra Szejko" userId="72bb44d8-1e0c-4109-be82-c57a4fb81907" providerId="ADAL" clId="{F148AB52-FD37-46FA-A16C-2F9835D3C0D5}" dt="2025-07-16T09:35:31.942" v="153" actId="47"/>
        <pc:sldMkLst>
          <pc:docMk/>
          <pc:sldMk cId="1826979980" sldId="269"/>
        </pc:sldMkLst>
        <pc:spChg chg="mod">
          <ac:chgData name="Aleksandra Szejko" userId="72bb44d8-1e0c-4109-be82-c57a4fb81907" providerId="ADAL" clId="{F148AB52-FD37-46FA-A16C-2F9835D3C0D5}" dt="2025-07-16T09:33:38.075" v="141" actId="790"/>
          <ac:spMkLst>
            <pc:docMk/>
            <pc:sldMk cId="1826979980" sldId="269"/>
            <ac:spMk id="2" creationId="{32BDC882-C86D-2E5B-595C-2BB27C7B00DC}"/>
          </ac:spMkLst>
        </pc:spChg>
        <pc:spChg chg="mod">
          <ac:chgData name="Aleksandra Szejko" userId="72bb44d8-1e0c-4109-be82-c57a4fb81907" providerId="ADAL" clId="{F148AB52-FD37-46FA-A16C-2F9835D3C0D5}" dt="2025-07-16T09:33:38.075" v="141" actId="790"/>
          <ac:spMkLst>
            <pc:docMk/>
            <pc:sldMk cId="1826979980" sldId="269"/>
            <ac:spMk id="3" creationId="{3659305A-AEFB-D237-B1D5-B3A37D431686}"/>
          </ac:spMkLst>
        </pc:spChg>
      </pc:sldChg>
      <pc:sldChg chg="modSp del mod">
        <pc:chgData name="Aleksandra Szejko" userId="72bb44d8-1e0c-4109-be82-c57a4fb81907" providerId="ADAL" clId="{F148AB52-FD37-46FA-A16C-2F9835D3C0D5}" dt="2025-07-16T09:35:31.942" v="153" actId="47"/>
        <pc:sldMkLst>
          <pc:docMk/>
          <pc:sldMk cId="164212808" sldId="270"/>
        </pc:sldMkLst>
        <pc:spChg chg="mod">
          <ac:chgData name="Aleksandra Szejko" userId="72bb44d8-1e0c-4109-be82-c57a4fb81907" providerId="ADAL" clId="{F148AB52-FD37-46FA-A16C-2F9835D3C0D5}" dt="2025-07-16T09:33:38.075" v="141" actId="790"/>
          <ac:spMkLst>
            <pc:docMk/>
            <pc:sldMk cId="164212808" sldId="270"/>
            <ac:spMk id="2" creationId="{495B8621-3CC0-3387-D494-38ADAEE00156}"/>
          </ac:spMkLst>
        </pc:spChg>
        <pc:spChg chg="mod">
          <ac:chgData name="Aleksandra Szejko" userId="72bb44d8-1e0c-4109-be82-c57a4fb81907" providerId="ADAL" clId="{F148AB52-FD37-46FA-A16C-2F9835D3C0D5}" dt="2025-07-16T09:33:38.075" v="141" actId="790"/>
          <ac:spMkLst>
            <pc:docMk/>
            <pc:sldMk cId="164212808" sldId="270"/>
            <ac:spMk id="3" creationId="{44213D70-6B08-B34D-5D3E-4210A36E4439}"/>
          </ac:spMkLst>
        </pc:spChg>
      </pc:sldChg>
      <pc:sldChg chg="modSp del mod">
        <pc:chgData name="Aleksandra Szejko" userId="72bb44d8-1e0c-4109-be82-c57a4fb81907" providerId="ADAL" clId="{F148AB52-FD37-46FA-A16C-2F9835D3C0D5}" dt="2025-07-16T09:35:34.597" v="154" actId="47"/>
        <pc:sldMkLst>
          <pc:docMk/>
          <pc:sldMk cId="201334846" sldId="272"/>
        </pc:sldMkLst>
        <pc:spChg chg="mod">
          <ac:chgData name="Aleksandra Szejko" userId="72bb44d8-1e0c-4109-be82-c57a4fb81907" providerId="ADAL" clId="{F148AB52-FD37-46FA-A16C-2F9835D3C0D5}" dt="2025-07-16T09:33:38.075" v="141" actId="790"/>
          <ac:spMkLst>
            <pc:docMk/>
            <pc:sldMk cId="201334846" sldId="272"/>
            <ac:spMk id="3" creationId="{41895FB1-8F46-5822-35A6-DCE26287FAB6}"/>
          </ac:spMkLst>
        </pc:spChg>
      </pc:sldChg>
      <pc:sldChg chg="modSp del mod">
        <pc:chgData name="Aleksandra Szejko" userId="72bb44d8-1e0c-4109-be82-c57a4fb81907" providerId="ADAL" clId="{F148AB52-FD37-46FA-A16C-2F9835D3C0D5}" dt="2025-07-16T09:35:31.942" v="153" actId="47"/>
        <pc:sldMkLst>
          <pc:docMk/>
          <pc:sldMk cId="84105716" sldId="275"/>
        </pc:sldMkLst>
        <pc:spChg chg="mod">
          <ac:chgData name="Aleksandra Szejko" userId="72bb44d8-1e0c-4109-be82-c57a4fb81907" providerId="ADAL" clId="{F148AB52-FD37-46FA-A16C-2F9835D3C0D5}" dt="2025-07-16T09:33:38.075" v="141" actId="790"/>
          <ac:spMkLst>
            <pc:docMk/>
            <pc:sldMk cId="84105716" sldId="275"/>
            <ac:spMk id="2" creationId="{9279524D-1D5B-2529-89C7-7B32D6D70B3A}"/>
          </ac:spMkLst>
        </pc:spChg>
        <pc:spChg chg="mod">
          <ac:chgData name="Aleksandra Szejko" userId="72bb44d8-1e0c-4109-be82-c57a4fb81907" providerId="ADAL" clId="{F148AB52-FD37-46FA-A16C-2F9835D3C0D5}" dt="2025-07-16T09:33:38.075" v="141" actId="790"/>
          <ac:spMkLst>
            <pc:docMk/>
            <pc:sldMk cId="84105716" sldId="275"/>
            <ac:spMk id="3" creationId="{0AFB4CEA-940A-7118-4AC2-6ADFBA580FDA}"/>
          </ac:spMkLst>
        </pc:spChg>
        <pc:spChg chg="mod">
          <ac:chgData name="Aleksandra Szejko" userId="72bb44d8-1e0c-4109-be82-c57a4fb81907" providerId="ADAL" clId="{F148AB52-FD37-46FA-A16C-2F9835D3C0D5}" dt="2025-07-16T09:33:38.075" v="141" actId="790"/>
          <ac:spMkLst>
            <pc:docMk/>
            <pc:sldMk cId="84105716" sldId="275"/>
            <ac:spMk id="4" creationId="{0D01816A-7D3B-5297-B0CC-C87C2981BCF9}"/>
          </ac:spMkLst>
        </pc:spChg>
      </pc:sldChg>
      <pc:sldChg chg="addSp delSp modSp mod setBg modAnim">
        <pc:chgData name="Aleksandra Szejko" userId="72bb44d8-1e0c-4109-be82-c57a4fb81907" providerId="ADAL" clId="{F148AB52-FD37-46FA-A16C-2F9835D3C0D5}" dt="2025-07-16T11:42:57.693" v="883" actId="34135"/>
        <pc:sldMkLst>
          <pc:docMk/>
          <pc:sldMk cId="3629572889" sldId="289"/>
        </pc:sldMkLst>
        <pc:spChg chg="mod">
          <ac:chgData name="Aleksandra Szejko" userId="72bb44d8-1e0c-4109-be82-c57a4fb81907" providerId="ADAL" clId="{F148AB52-FD37-46FA-A16C-2F9835D3C0D5}" dt="2025-07-16T11:06:16.128" v="446" actId="20577"/>
          <ac:spMkLst>
            <pc:docMk/>
            <pc:sldMk cId="3629572889" sldId="289"/>
            <ac:spMk id="3" creationId="{43D35189-0D75-006D-6971-90C4C5C74332}"/>
          </ac:spMkLst>
        </pc:spChg>
        <pc:spChg chg="mod">
          <ac:chgData name="Aleksandra Szejko" userId="72bb44d8-1e0c-4109-be82-c57a4fb81907" providerId="ADAL" clId="{F148AB52-FD37-46FA-A16C-2F9835D3C0D5}" dt="2025-07-16T11:10:01.469" v="478" actId="207"/>
          <ac:spMkLst>
            <pc:docMk/>
            <pc:sldMk cId="3629572889" sldId="289"/>
            <ac:spMk id="4" creationId="{6E572D99-6047-604F-CA9E-2611D277192D}"/>
          </ac:spMkLst>
        </pc:spChg>
        <pc:spChg chg="mod">
          <ac:chgData name="Aleksandra Szejko" userId="72bb44d8-1e0c-4109-be82-c57a4fb81907" providerId="ADAL" clId="{F148AB52-FD37-46FA-A16C-2F9835D3C0D5}" dt="2025-07-16T11:06:10.351" v="442" actId="20577"/>
          <ac:spMkLst>
            <pc:docMk/>
            <pc:sldMk cId="3629572889" sldId="289"/>
            <ac:spMk id="7" creationId="{60E7553F-DC50-6C5C-E166-A61316622584}"/>
          </ac:spMkLst>
        </pc:spChg>
        <pc:spChg chg="mod">
          <ac:chgData name="Aleksandra Szejko" userId="72bb44d8-1e0c-4109-be82-c57a4fb81907" providerId="ADAL" clId="{F148AB52-FD37-46FA-A16C-2F9835D3C0D5}" dt="2025-07-16T11:06:36.064" v="449" actId="14100"/>
          <ac:spMkLst>
            <pc:docMk/>
            <pc:sldMk cId="3629572889" sldId="289"/>
            <ac:spMk id="9" creationId="{D2F40D7B-48AE-79B3-C06F-DA431C27D01C}"/>
          </ac:spMkLst>
        </pc:spChg>
        <pc:spChg chg="add mod ord">
          <ac:chgData name="Aleksandra Szejko" userId="72bb44d8-1e0c-4109-be82-c57a4fb81907" providerId="ADAL" clId="{F148AB52-FD37-46FA-A16C-2F9835D3C0D5}" dt="2025-07-16T11:08:19.580" v="461" actId="167"/>
          <ac:spMkLst>
            <pc:docMk/>
            <pc:sldMk cId="3629572889" sldId="289"/>
            <ac:spMk id="12" creationId="{E830A664-2EEA-C8C3-76CD-3342AAD556CF}"/>
          </ac:spMkLst>
        </pc:spChg>
        <pc:grpChg chg="add mod">
          <ac:chgData name="Aleksandra Szejko" userId="72bb44d8-1e0c-4109-be82-c57a4fb81907" providerId="ADAL" clId="{F148AB52-FD37-46FA-A16C-2F9835D3C0D5}" dt="2025-07-16T11:42:57.693" v="883" actId="34135"/>
          <ac:grpSpMkLst>
            <pc:docMk/>
            <pc:sldMk cId="3629572889" sldId="289"/>
            <ac:grpSpMk id="5" creationId="{28840F86-2B2D-90E4-9970-3EF8A40C5CDA}"/>
          </ac:grpSpMkLst>
        </pc:grpChg>
        <pc:picChg chg="del">
          <ac:chgData name="Aleksandra Szejko" userId="72bb44d8-1e0c-4109-be82-c57a4fb81907" providerId="ADAL" clId="{F148AB52-FD37-46FA-A16C-2F9835D3C0D5}" dt="2025-07-16T11:04:56.507" v="420" actId="478"/>
          <ac:picMkLst>
            <pc:docMk/>
            <pc:sldMk cId="3629572889" sldId="289"/>
            <ac:picMk id="2" creationId="{DEB649F3-252C-42B5-B94D-02592FD5983D}"/>
          </ac:picMkLst>
        </pc:picChg>
        <pc:picChg chg="mod">
          <ac:chgData name="Aleksandra Szejko" userId="72bb44d8-1e0c-4109-be82-c57a4fb81907" providerId="ADAL" clId="{F148AB52-FD37-46FA-A16C-2F9835D3C0D5}" dt="2025-07-16T11:42:57.693" v="883" actId="34135"/>
          <ac:picMkLst>
            <pc:docMk/>
            <pc:sldMk cId="3629572889" sldId="289"/>
            <ac:picMk id="6" creationId="{2F3C8F7D-7DD3-C72D-0291-613677062C49}"/>
          </ac:picMkLst>
        </pc:picChg>
        <pc:picChg chg="mod">
          <ac:chgData name="Aleksandra Szejko" userId="72bb44d8-1e0c-4109-be82-c57a4fb81907" providerId="ADAL" clId="{F148AB52-FD37-46FA-A16C-2F9835D3C0D5}" dt="2025-07-16T11:42:57.693" v="883" actId="34135"/>
          <ac:picMkLst>
            <pc:docMk/>
            <pc:sldMk cId="3629572889" sldId="289"/>
            <ac:picMk id="8" creationId="{D4DA5D2C-290D-5801-C602-2C82A853C35C}"/>
          </ac:picMkLst>
        </pc:picChg>
        <pc:picChg chg="add mod">
          <ac:chgData name="Aleksandra Szejko" userId="72bb44d8-1e0c-4109-be82-c57a4fb81907" providerId="ADAL" clId="{F148AB52-FD37-46FA-A16C-2F9835D3C0D5}" dt="2025-07-16T11:07:58.938" v="456"/>
          <ac:picMkLst>
            <pc:docMk/>
            <pc:sldMk cId="3629572889" sldId="289"/>
            <ac:picMk id="10" creationId="{AC28F933-3FA6-1B0E-3F84-CBBCDFF0F92C}"/>
          </ac:picMkLst>
        </pc:picChg>
        <pc:picChg chg="mod">
          <ac:chgData name="Aleksandra Szejko" userId="72bb44d8-1e0c-4109-be82-c57a4fb81907" providerId="ADAL" clId="{F148AB52-FD37-46FA-A16C-2F9835D3C0D5}" dt="2025-07-16T11:06:29.083" v="447" actId="1076"/>
          <ac:picMkLst>
            <pc:docMk/>
            <pc:sldMk cId="3629572889" sldId="289"/>
            <ac:picMk id="11" creationId="{5D532436-FCD8-BFBB-7688-66A8EB2B2222}"/>
          </ac:picMkLst>
        </pc:picChg>
        <pc:picChg chg="mod">
          <ac:chgData name="Aleksandra Szejko" userId="72bb44d8-1e0c-4109-be82-c57a4fb81907" providerId="ADAL" clId="{F148AB52-FD37-46FA-A16C-2F9835D3C0D5}" dt="2025-07-16T11:06:29.083" v="447" actId="1076"/>
          <ac:picMkLst>
            <pc:docMk/>
            <pc:sldMk cId="3629572889" sldId="289"/>
            <ac:picMk id="13" creationId="{DA9EB561-C7C8-4065-D239-B8C7E029D969}"/>
          </ac:picMkLst>
        </pc:picChg>
      </pc:sldChg>
      <pc:sldChg chg="addSp delSp modSp mod modAnim">
        <pc:chgData name="Aleksandra Szejko" userId="72bb44d8-1e0c-4109-be82-c57a4fb81907" providerId="ADAL" clId="{F148AB52-FD37-46FA-A16C-2F9835D3C0D5}" dt="2025-07-16T11:42:46.631" v="882" actId="34135"/>
        <pc:sldMkLst>
          <pc:docMk/>
          <pc:sldMk cId="1409857571" sldId="290"/>
        </pc:sldMkLst>
        <pc:spChg chg="mod">
          <ac:chgData name="Aleksandra Szejko" userId="72bb44d8-1e0c-4109-be82-c57a4fb81907" providerId="ADAL" clId="{F148AB52-FD37-46FA-A16C-2F9835D3C0D5}" dt="2025-07-16T09:33:38.075" v="141" actId="790"/>
          <ac:spMkLst>
            <pc:docMk/>
            <pc:sldMk cId="1409857571" sldId="290"/>
            <ac:spMk id="2" creationId="{25CCB90D-1B4B-C2ED-27FF-4A963CB38243}"/>
          </ac:spMkLst>
        </pc:spChg>
        <pc:spChg chg="mod">
          <ac:chgData name="Aleksandra Szejko" userId="72bb44d8-1e0c-4109-be82-c57a4fb81907" providerId="ADAL" clId="{F148AB52-FD37-46FA-A16C-2F9835D3C0D5}" dt="2025-07-16T09:33:38.075" v="141" actId="790"/>
          <ac:spMkLst>
            <pc:docMk/>
            <pc:sldMk cId="1409857571" sldId="290"/>
            <ac:spMk id="3" creationId="{3B066309-ED67-51A9-741B-03E8166BCF84}"/>
          </ac:spMkLst>
        </pc:spChg>
        <pc:spChg chg="add del mod ord">
          <ac:chgData name="Aleksandra Szejko" userId="72bb44d8-1e0c-4109-be82-c57a4fb81907" providerId="ADAL" clId="{F148AB52-FD37-46FA-A16C-2F9835D3C0D5}" dt="2025-07-16T11:10:52.676" v="489" actId="478"/>
          <ac:spMkLst>
            <pc:docMk/>
            <pc:sldMk cId="1409857571" sldId="290"/>
            <ac:spMk id="22" creationId="{24795F4B-C89F-117D-2137-F0BDC83F9DD3}"/>
          </ac:spMkLst>
        </pc:spChg>
        <pc:spChg chg="mod ord">
          <ac:chgData name="Aleksandra Szejko" userId="72bb44d8-1e0c-4109-be82-c57a4fb81907" providerId="ADAL" clId="{F148AB52-FD37-46FA-A16C-2F9835D3C0D5}" dt="2025-07-16T11:16:59.107" v="548" actId="14100"/>
          <ac:spMkLst>
            <pc:docMk/>
            <pc:sldMk cId="1409857571" sldId="290"/>
            <ac:spMk id="40" creationId="{4EBC21D2-B521-D73F-15A5-E825AC6ED92A}"/>
          </ac:spMkLst>
        </pc:spChg>
        <pc:spChg chg="mod">
          <ac:chgData name="Aleksandra Szejko" userId="72bb44d8-1e0c-4109-be82-c57a4fb81907" providerId="ADAL" clId="{F148AB52-FD37-46FA-A16C-2F9835D3C0D5}" dt="2025-07-16T11:16:44.512" v="546" actId="1076"/>
          <ac:spMkLst>
            <pc:docMk/>
            <pc:sldMk cId="1409857571" sldId="290"/>
            <ac:spMk id="41" creationId="{421899F8-0135-B0E7-11F1-A531E925C6AD}"/>
          </ac:spMkLst>
        </pc:spChg>
        <pc:grpChg chg="add mod">
          <ac:chgData name="Aleksandra Szejko" userId="72bb44d8-1e0c-4109-be82-c57a4fb81907" providerId="ADAL" clId="{F148AB52-FD37-46FA-A16C-2F9835D3C0D5}" dt="2025-07-16T11:04:39.439" v="414" actId="1076"/>
          <ac:grpSpMkLst>
            <pc:docMk/>
            <pc:sldMk cId="1409857571" sldId="290"/>
            <ac:grpSpMk id="10" creationId="{D3C3199A-4CB3-AFFC-8818-65606F561972}"/>
          </ac:grpSpMkLst>
        </pc:grpChg>
        <pc:grpChg chg="mod">
          <ac:chgData name="Aleksandra Szejko" userId="72bb44d8-1e0c-4109-be82-c57a4fb81907" providerId="ADAL" clId="{F148AB52-FD37-46FA-A16C-2F9835D3C0D5}" dt="2025-07-16T11:04:39.439" v="414" actId="1076"/>
          <ac:grpSpMkLst>
            <pc:docMk/>
            <pc:sldMk cId="1409857571" sldId="290"/>
            <ac:grpSpMk id="13" creationId="{2A9B0C08-3E55-3776-2524-0D2511C2CF89}"/>
          </ac:grpSpMkLst>
        </pc:grpChg>
        <pc:grpChg chg="add mod">
          <ac:chgData name="Aleksandra Szejko" userId="72bb44d8-1e0c-4109-be82-c57a4fb81907" providerId="ADAL" clId="{F148AB52-FD37-46FA-A16C-2F9835D3C0D5}" dt="2025-07-16T11:04:39.439" v="414" actId="1076"/>
          <ac:grpSpMkLst>
            <pc:docMk/>
            <pc:sldMk cId="1409857571" sldId="290"/>
            <ac:grpSpMk id="16" creationId="{2D3D3330-66C4-E770-77E3-1F275AB08F57}"/>
          </ac:grpSpMkLst>
        </pc:grpChg>
        <pc:grpChg chg="add mod">
          <ac:chgData name="Aleksandra Szejko" userId="72bb44d8-1e0c-4109-be82-c57a4fb81907" providerId="ADAL" clId="{F148AB52-FD37-46FA-A16C-2F9835D3C0D5}" dt="2025-07-16T11:08:48.501" v="463"/>
          <ac:grpSpMkLst>
            <pc:docMk/>
            <pc:sldMk cId="1409857571" sldId="290"/>
            <ac:grpSpMk id="19" creationId="{56909F23-35E3-5C50-B19C-865D4420A611}"/>
          </ac:grpSpMkLst>
        </pc:grpChg>
        <pc:picChg chg="add mod">
          <ac:chgData name="Aleksandra Szejko" userId="72bb44d8-1e0c-4109-be82-c57a4fb81907" providerId="ADAL" clId="{F148AB52-FD37-46FA-A16C-2F9835D3C0D5}" dt="2025-07-16T11:04:39.439" v="414" actId="1076"/>
          <ac:picMkLst>
            <pc:docMk/>
            <pc:sldMk cId="1409857571" sldId="290"/>
            <ac:picMk id="4" creationId="{7CF22892-A213-5475-52AF-4F73B82626A4}"/>
          </ac:picMkLst>
        </pc:picChg>
        <pc:picChg chg="del">
          <ac:chgData name="Aleksandra Szejko" userId="72bb44d8-1e0c-4109-be82-c57a4fb81907" providerId="ADAL" clId="{F148AB52-FD37-46FA-A16C-2F9835D3C0D5}" dt="2025-07-16T11:04:35.881" v="412" actId="478"/>
          <ac:picMkLst>
            <pc:docMk/>
            <pc:sldMk cId="1409857571" sldId="290"/>
            <ac:picMk id="5" creationId="{6EDEF4B7-8DAA-DFA7-0C00-7F793E0FA3C3}"/>
          </ac:picMkLst>
        </pc:picChg>
        <pc:picChg chg="add mod">
          <ac:chgData name="Aleksandra Szejko" userId="72bb44d8-1e0c-4109-be82-c57a4fb81907" providerId="ADAL" clId="{F148AB52-FD37-46FA-A16C-2F9835D3C0D5}" dt="2025-07-16T11:04:39.439" v="414" actId="1076"/>
          <ac:picMkLst>
            <pc:docMk/>
            <pc:sldMk cId="1409857571" sldId="290"/>
            <ac:picMk id="6" creationId="{106E62D8-79A3-C03D-A449-619A7CA217EA}"/>
          </ac:picMkLst>
        </pc:picChg>
        <pc:picChg chg="mod">
          <ac:chgData name="Aleksandra Szejko" userId="72bb44d8-1e0c-4109-be82-c57a4fb81907" providerId="ADAL" clId="{F148AB52-FD37-46FA-A16C-2F9835D3C0D5}" dt="2025-07-16T11:04:36.359" v="413"/>
          <ac:picMkLst>
            <pc:docMk/>
            <pc:sldMk cId="1409857571" sldId="290"/>
            <ac:picMk id="11" creationId="{BACD6763-22E5-25F2-1314-C264A7C4DCB8}"/>
          </ac:picMkLst>
        </pc:picChg>
        <pc:picChg chg="mod">
          <ac:chgData name="Aleksandra Szejko" userId="72bb44d8-1e0c-4109-be82-c57a4fb81907" providerId="ADAL" clId="{F148AB52-FD37-46FA-A16C-2F9835D3C0D5}" dt="2025-07-16T11:04:36.359" v="413"/>
          <ac:picMkLst>
            <pc:docMk/>
            <pc:sldMk cId="1409857571" sldId="290"/>
            <ac:picMk id="12" creationId="{762F9A07-EB72-4B5D-17CD-35A4FC2690AA}"/>
          </ac:picMkLst>
        </pc:picChg>
        <pc:picChg chg="mod">
          <ac:chgData name="Aleksandra Szejko" userId="72bb44d8-1e0c-4109-be82-c57a4fb81907" providerId="ADAL" clId="{F148AB52-FD37-46FA-A16C-2F9835D3C0D5}" dt="2025-07-16T11:04:36.359" v="413"/>
          <ac:picMkLst>
            <pc:docMk/>
            <pc:sldMk cId="1409857571" sldId="290"/>
            <ac:picMk id="14" creationId="{7BE20327-27AC-FFC2-5128-D365EEE0F1C6}"/>
          </ac:picMkLst>
        </pc:picChg>
        <pc:picChg chg="mod">
          <ac:chgData name="Aleksandra Szejko" userId="72bb44d8-1e0c-4109-be82-c57a4fb81907" providerId="ADAL" clId="{F148AB52-FD37-46FA-A16C-2F9835D3C0D5}" dt="2025-07-16T11:04:36.359" v="413"/>
          <ac:picMkLst>
            <pc:docMk/>
            <pc:sldMk cId="1409857571" sldId="290"/>
            <ac:picMk id="15" creationId="{242A04AA-39D9-BF0D-1DFC-CE81A044ABDB}"/>
          </ac:picMkLst>
        </pc:picChg>
        <pc:picChg chg="mod">
          <ac:chgData name="Aleksandra Szejko" userId="72bb44d8-1e0c-4109-be82-c57a4fb81907" providerId="ADAL" clId="{F148AB52-FD37-46FA-A16C-2F9835D3C0D5}" dt="2025-07-16T11:04:36.359" v="413"/>
          <ac:picMkLst>
            <pc:docMk/>
            <pc:sldMk cId="1409857571" sldId="290"/>
            <ac:picMk id="17" creationId="{15B0F78B-5EFB-AB8E-B613-193AA712A671}"/>
          </ac:picMkLst>
        </pc:picChg>
        <pc:picChg chg="mod">
          <ac:chgData name="Aleksandra Szejko" userId="72bb44d8-1e0c-4109-be82-c57a4fb81907" providerId="ADAL" clId="{F148AB52-FD37-46FA-A16C-2F9835D3C0D5}" dt="2025-07-16T11:04:36.359" v="413"/>
          <ac:picMkLst>
            <pc:docMk/>
            <pc:sldMk cId="1409857571" sldId="290"/>
            <ac:picMk id="18" creationId="{F7630324-B1C9-D656-B59D-78E30D850CBC}"/>
          </ac:picMkLst>
        </pc:picChg>
        <pc:picChg chg="mod">
          <ac:chgData name="Aleksandra Szejko" userId="72bb44d8-1e0c-4109-be82-c57a4fb81907" providerId="ADAL" clId="{F148AB52-FD37-46FA-A16C-2F9835D3C0D5}" dt="2025-07-16T11:08:48.501" v="463"/>
          <ac:picMkLst>
            <pc:docMk/>
            <pc:sldMk cId="1409857571" sldId="290"/>
            <ac:picMk id="20" creationId="{28FAF4D4-091A-7A85-4F0E-C847632C4D01}"/>
          </ac:picMkLst>
        </pc:picChg>
        <pc:picChg chg="mod">
          <ac:chgData name="Aleksandra Szejko" userId="72bb44d8-1e0c-4109-be82-c57a4fb81907" providerId="ADAL" clId="{F148AB52-FD37-46FA-A16C-2F9835D3C0D5}" dt="2025-07-16T11:08:48.501" v="463"/>
          <ac:picMkLst>
            <pc:docMk/>
            <pc:sldMk cId="1409857571" sldId="290"/>
            <ac:picMk id="21" creationId="{65F8BE3B-7D21-BDEC-54B3-CA8B234A32AA}"/>
          </ac:picMkLst>
        </pc:picChg>
        <pc:picChg chg="add mod ord modCrop">
          <ac:chgData name="Aleksandra Szejko" userId="72bb44d8-1e0c-4109-be82-c57a4fb81907" providerId="ADAL" clId="{F148AB52-FD37-46FA-A16C-2F9835D3C0D5}" dt="2025-07-16T11:42:46.631" v="882" actId="34135"/>
          <ac:picMkLst>
            <pc:docMk/>
            <pc:sldMk cId="1409857571" sldId="290"/>
            <ac:picMk id="24" creationId="{741A414B-71DE-F67B-91B7-60D8F9999F17}"/>
          </ac:picMkLst>
        </pc:picChg>
        <pc:picChg chg="mod">
          <ac:chgData name="Aleksandra Szejko" userId="72bb44d8-1e0c-4109-be82-c57a4fb81907" providerId="ADAL" clId="{F148AB52-FD37-46FA-A16C-2F9835D3C0D5}" dt="2025-07-16T09:34:03.628" v="144" actId="207"/>
          <ac:picMkLst>
            <pc:docMk/>
            <pc:sldMk cId="1409857571" sldId="290"/>
            <ac:picMk id="42" creationId="{D6D100F3-92CF-E207-975D-A76433630D9E}"/>
          </ac:picMkLst>
        </pc:picChg>
        <pc:picChg chg="mod">
          <ac:chgData name="Aleksandra Szejko" userId="72bb44d8-1e0c-4109-be82-c57a4fb81907" providerId="ADAL" clId="{F148AB52-FD37-46FA-A16C-2F9835D3C0D5}" dt="2025-07-16T09:34:03.628" v="144" actId="207"/>
          <ac:picMkLst>
            <pc:docMk/>
            <pc:sldMk cId="1409857571" sldId="290"/>
            <ac:picMk id="43" creationId="{AEB420A1-5B8E-B7C5-D06C-397E2910A219}"/>
          </ac:picMkLst>
        </pc:picChg>
        <pc:cxnChg chg="mod">
          <ac:chgData name="Aleksandra Szejko" userId="72bb44d8-1e0c-4109-be82-c57a4fb81907" providerId="ADAL" clId="{F148AB52-FD37-46FA-A16C-2F9835D3C0D5}" dt="2025-07-16T11:04:39.439" v="414" actId="1076"/>
          <ac:cxnSpMkLst>
            <pc:docMk/>
            <pc:sldMk cId="1409857571" sldId="290"/>
            <ac:cxnSpMk id="7" creationId="{380CDFCA-C8A3-9085-930E-64181559682A}"/>
          </ac:cxnSpMkLst>
        </pc:cxnChg>
        <pc:cxnChg chg="mod">
          <ac:chgData name="Aleksandra Szejko" userId="72bb44d8-1e0c-4109-be82-c57a4fb81907" providerId="ADAL" clId="{F148AB52-FD37-46FA-A16C-2F9835D3C0D5}" dt="2025-07-16T11:04:39.439" v="414" actId="1076"/>
          <ac:cxnSpMkLst>
            <pc:docMk/>
            <pc:sldMk cId="1409857571" sldId="290"/>
            <ac:cxnSpMk id="8" creationId="{6780A541-D49E-3623-5865-2E1F694530D8}"/>
          </ac:cxnSpMkLst>
        </pc:cxnChg>
        <pc:cxnChg chg="mod">
          <ac:chgData name="Aleksandra Szejko" userId="72bb44d8-1e0c-4109-be82-c57a4fb81907" providerId="ADAL" clId="{F148AB52-FD37-46FA-A16C-2F9835D3C0D5}" dt="2025-07-16T11:04:39.439" v="414" actId="1076"/>
          <ac:cxnSpMkLst>
            <pc:docMk/>
            <pc:sldMk cId="1409857571" sldId="290"/>
            <ac:cxnSpMk id="9" creationId="{39462A9B-5F70-AAB0-167A-8CBD6F50E5F5}"/>
          </ac:cxnSpMkLst>
        </pc:cxnChg>
      </pc:sldChg>
      <pc:sldChg chg="addSp delSp modSp mod modAnim">
        <pc:chgData name="Aleksandra Szejko" userId="72bb44d8-1e0c-4109-be82-c57a4fb81907" providerId="ADAL" clId="{F148AB52-FD37-46FA-A16C-2F9835D3C0D5}" dt="2025-07-16T11:17:57.226" v="561" actId="14100"/>
        <pc:sldMkLst>
          <pc:docMk/>
          <pc:sldMk cId="461582943" sldId="291"/>
        </pc:sldMkLst>
        <pc:spChg chg="del mod">
          <ac:chgData name="Aleksandra Szejko" userId="72bb44d8-1e0c-4109-be82-c57a4fb81907" providerId="ADAL" clId="{F148AB52-FD37-46FA-A16C-2F9835D3C0D5}" dt="2025-07-16T11:11:50.284" v="510" actId="478"/>
          <ac:spMkLst>
            <pc:docMk/>
            <pc:sldMk cId="461582943" sldId="291"/>
            <ac:spMk id="2" creationId="{1FB83635-F4F6-D4F6-B4DD-D508D9D18744}"/>
          </ac:spMkLst>
        </pc:spChg>
        <pc:spChg chg="mod">
          <ac:chgData name="Aleksandra Szejko" userId="72bb44d8-1e0c-4109-be82-c57a4fb81907" providerId="ADAL" clId="{F148AB52-FD37-46FA-A16C-2F9835D3C0D5}" dt="2025-07-16T09:33:38.075" v="141" actId="790"/>
          <ac:spMkLst>
            <pc:docMk/>
            <pc:sldMk cId="461582943" sldId="291"/>
            <ac:spMk id="3" creationId="{A9832345-2D64-8246-B13F-9AB257AA6109}"/>
          </ac:spMkLst>
        </pc:spChg>
        <pc:spChg chg="mod">
          <ac:chgData name="Aleksandra Szejko" userId="72bb44d8-1e0c-4109-be82-c57a4fb81907" providerId="ADAL" clId="{F148AB52-FD37-46FA-A16C-2F9835D3C0D5}" dt="2025-07-16T11:17:57.226" v="561" actId="14100"/>
          <ac:spMkLst>
            <pc:docMk/>
            <pc:sldMk cId="461582943" sldId="291"/>
            <ac:spMk id="8" creationId="{4A451E94-A4BF-CBAB-07B3-FB666FEC5A3D}"/>
          </ac:spMkLst>
        </pc:spChg>
        <pc:spChg chg="mod">
          <ac:chgData name="Aleksandra Szejko" userId="72bb44d8-1e0c-4109-be82-c57a4fb81907" providerId="ADAL" clId="{F148AB52-FD37-46FA-A16C-2F9835D3C0D5}" dt="2025-07-16T11:17:54.743" v="560" actId="1076"/>
          <ac:spMkLst>
            <pc:docMk/>
            <pc:sldMk cId="461582943" sldId="291"/>
            <ac:spMk id="10" creationId="{5276831C-7CDA-6C75-7A13-4AC8C6F43148}"/>
          </ac:spMkLst>
        </pc:spChg>
        <pc:spChg chg="mod">
          <ac:chgData name="Aleksandra Szejko" userId="72bb44d8-1e0c-4109-be82-c57a4fb81907" providerId="ADAL" clId="{F148AB52-FD37-46FA-A16C-2F9835D3C0D5}" dt="2025-07-16T11:04:07.490" v="410"/>
          <ac:spMkLst>
            <pc:docMk/>
            <pc:sldMk cId="461582943" sldId="291"/>
            <ac:spMk id="25" creationId="{C0EFF49E-EAAD-D17F-9663-248B5E50A0E9}"/>
          </ac:spMkLst>
        </pc:spChg>
        <pc:grpChg chg="mod">
          <ac:chgData name="Aleksandra Szejko" userId="72bb44d8-1e0c-4109-be82-c57a4fb81907" providerId="ADAL" clId="{F148AB52-FD37-46FA-A16C-2F9835D3C0D5}" dt="2025-07-16T11:04:11.718" v="411" actId="1076"/>
          <ac:grpSpMkLst>
            <pc:docMk/>
            <pc:sldMk cId="461582943" sldId="291"/>
            <ac:grpSpMk id="14" creationId="{AFAA6CEC-DD3E-3524-D196-A8C9E6F2DF1D}"/>
          </ac:grpSpMkLst>
        </pc:grpChg>
        <pc:grpChg chg="mod">
          <ac:chgData name="Aleksandra Szejko" userId="72bb44d8-1e0c-4109-be82-c57a4fb81907" providerId="ADAL" clId="{F148AB52-FD37-46FA-A16C-2F9835D3C0D5}" dt="2025-07-16T11:04:11.718" v="411" actId="1076"/>
          <ac:grpSpMkLst>
            <pc:docMk/>
            <pc:sldMk cId="461582943" sldId="291"/>
            <ac:grpSpMk id="17" creationId="{6BACD04F-8B08-C7F4-8ACC-40C7B1B8A685}"/>
          </ac:grpSpMkLst>
        </pc:grpChg>
        <pc:grpChg chg="mod">
          <ac:chgData name="Aleksandra Szejko" userId="72bb44d8-1e0c-4109-be82-c57a4fb81907" providerId="ADAL" clId="{F148AB52-FD37-46FA-A16C-2F9835D3C0D5}" dt="2025-07-16T11:04:11.718" v="411" actId="1076"/>
          <ac:grpSpMkLst>
            <pc:docMk/>
            <pc:sldMk cId="461582943" sldId="291"/>
            <ac:grpSpMk id="20" creationId="{080CC3E6-204C-397C-7895-61A89ECD7508}"/>
          </ac:grpSpMkLst>
        </pc:grpChg>
        <pc:grpChg chg="mod">
          <ac:chgData name="Aleksandra Szejko" userId="72bb44d8-1e0c-4109-be82-c57a4fb81907" providerId="ADAL" clId="{F148AB52-FD37-46FA-A16C-2F9835D3C0D5}" dt="2025-07-16T11:04:11.718" v="411" actId="1076"/>
          <ac:grpSpMkLst>
            <pc:docMk/>
            <pc:sldMk cId="461582943" sldId="291"/>
            <ac:grpSpMk id="23" creationId="{695D2861-35AC-D39C-99B2-5CEB067C497B}"/>
          </ac:grpSpMkLst>
        </pc:grpChg>
        <pc:picChg chg="del">
          <ac:chgData name="Aleksandra Szejko" userId="72bb44d8-1e0c-4109-be82-c57a4fb81907" providerId="ADAL" clId="{F148AB52-FD37-46FA-A16C-2F9835D3C0D5}" dt="2025-07-16T11:04:07.102" v="409" actId="478"/>
          <ac:picMkLst>
            <pc:docMk/>
            <pc:sldMk cId="461582943" sldId="291"/>
            <ac:picMk id="4" creationId="{BB21A967-732F-6F36-AA29-0F58D83E05DC}"/>
          </ac:picMkLst>
        </pc:picChg>
        <pc:picChg chg="add mod">
          <ac:chgData name="Aleksandra Szejko" userId="72bb44d8-1e0c-4109-be82-c57a4fb81907" providerId="ADAL" clId="{F148AB52-FD37-46FA-A16C-2F9835D3C0D5}" dt="2025-07-16T11:04:11.718" v="411" actId="1076"/>
          <ac:picMkLst>
            <pc:docMk/>
            <pc:sldMk cId="461582943" sldId="291"/>
            <ac:picMk id="5" creationId="{1690BCD4-EF05-8A4A-7B92-16EB46B20BC5}"/>
          </ac:picMkLst>
        </pc:picChg>
        <pc:picChg chg="add mod">
          <ac:chgData name="Aleksandra Szejko" userId="72bb44d8-1e0c-4109-be82-c57a4fb81907" providerId="ADAL" clId="{F148AB52-FD37-46FA-A16C-2F9835D3C0D5}" dt="2025-07-16T11:04:11.718" v="411" actId="1076"/>
          <ac:picMkLst>
            <pc:docMk/>
            <pc:sldMk cId="461582943" sldId="291"/>
            <ac:picMk id="6" creationId="{C4FF8C51-D85F-899A-1109-6B91C7C93155}"/>
          </ac:picMkLst>
        </pc:picChg>
        <pc:picChg chg="mod">
          <ac:chgData name="Aleksandra Szejko" userId="72bb44d8-1e0c-4109-be82-c57a4fb81907" providerId="ADAL" clId="{F148AB52-FD37-46FA-A16C-2F9835D3C0D5}" dt="2025-07-16T09:34:08.527" v="145" actId="207"/>
          <ac:picMkLst>
            <pc:docMk/>
            <pc:sldMk cId="461582943" sldId="291"/>
            <ac:picMk id="11" creationId="{3CB265BA-A022-B554-44FB-DDD7FFFA7C9A}"/>
          </ac:picMkLst>
        </pc:picChg>
        <pc:picChg chg="mod">
          <ac:chgData name="Aleksandra Szejko" userId="72bb44d8-1e0c-4109-be82-c57a4fb81907" providerId="ADAL" clId="{F148AB52-FD37-46FA-A16C-2F9835D3C0D5}" dt="2025-07-16T09:34:08.527" v="145" actId="207"/>
          <ac:picMkLst>
            <pc:docMk/>
            <pc:sldMk cId="461582943" sldId="291"/>
            <ac:picMk id="12" creationId="{ABD2C49C-5D77-E7C1-70D3-343800160D5F}"/>
          </ac:picMkLst>
        </pc:picChg>
        <pc:picChg chg="mod">
          <ac:chgData name="Aleksandra Szejko" userId="72bb44d8-1e0c-4109-be82-c57a4fb81907" providerId="ADAL" clId="{F148AB52-FD37-46FA-A16C-2F9835D3C0D5}" dt="2025-07-16T11:04:07.490" v="410"/>
          <ac:picMkLst>
            <pc:docMk/>
            <pc:sldMk cId="461582943" sldId="291"/>
            <ac:picMk id="15" creationId="{CF46EB71-0DBF-19F7-6A94-58C76F109397}"/>
          </ac:picMkLst>
        </pc:picChg>
        <pc:picChg chg="mod">
          <ac:chgData name="Aleksandra Szejko" userId="72bb44d8-1e0c-4109-be82-c57a4fb81907" providerId="ADAL" clId="{F148AB52-FD37-46FA-A16C-2F9835D3C0D5}" dt="2025-07-16T11:04:07.490" v="410"/>
          <ac:picMkLst>
            <pc:docMk/>
            <pc:sldMk cId="461582943" sldId="291"/>
            <ac:picMk id="16" creationId="{59925B6C-B267-1807-0B9F-C353EEDC1E19}"/>
          </ac:picMkLst>
        </pc:picChg>
        <pc:picChg chg="mod">
          <ac:chgData name="Aleksandra Szejko" userId="72bb44d8-1e0c-4109-be82-c57a4fb81907" providerId="ADAL" clId="{F148AB52-FD37-46FA-A16C-2F9835D3C0D5}" dt="2025-07-16T11:04:07.490" v="410"/>
          <ac:picMkLst>
            <pc:docMk/>
            <pc:sldMk cId="461582943" sldId="291"/>
            <ac:picMk id="18" creationId="{4AB3F76D-1852-20FA-4E89-FBDEBBFF253F}"/>
          </ac:picMkLst>
        </pc:picChg>
        <pc:picChg chg="mod">
          <ac:chgData name="Aleksandra Szejko" userId="72bb44d8-1e0c-4109-be82-c57a4fb81907" providerId="ADAL" clId="{F148AB52-FD37-46FA-A16C-2F9835D3C0D5}" dt="2025-07-16T11:04:07.490" v="410"/>
          <ac:picMkLst>
            <pc:docMk/>
            <pc:sldMk cId="461582943" sldId="291"/>
            <ac:picMk id="19" creationId="{B05BF24A-E317-A70F-4F61-546B03CE1F1E}"/>
          </ac:picMkLst>
        </pc:picChg>
        <pc:picChg chg="mod">
          <ac:chgData name="Aleksandra Szejko" userId="72bb44d8-1e0c-4109-be82-c57a4fb81907" providerId="ADAL" clId="{F148AB52-FD37-46FA-A16C-2F9835D3C0D5}" dt="2025-07-16T11:04:07.490" v="410"/>
          <ac:picMkLst>
            <pc:docMk/>
            <pc:sldMk cId="461582943" sldId="291"/>
            <ac:picMk id="21" creationId="{662428B3-5F23-EAB4-DD0D-E3FFF1C7D55F}"/>
          </ac:picMkLst>
        </pc:picChg>
        <pc:picChg chg="mod">
          <ac:chgData name="Aleksandra Szejko" userId="72bb44d8-1e0c-4109-be82-c57a4fb81907" providerId="ADAL" clId="{F148AB52-FD37-46FA-A16C-2F9835D3C0D5}" dt="2025-07-16T11:04:07.490" v="410"/>
          <ac:picMkLst>
            <pc:docMk/>
            <pc:sldMk cId="461582943" sldId="291"/>
            <ac:picMk id="22" creationId="{039DEB7F-5C2B-3475-0879-ADB4E9A905FD}"/>
          </ac:picMkLst>
        </pc:picChg>
        <pc:picChg chg="mod">
          <ac:chgData name="Aleksandra Szejko" userId="72bb44d8-1e0c-4109-be82-c57a4fb81907" providerId="ADAL" clId="{F148AB52-FD37-46FA-A16C-2F9835D3C0D5}" dt="2025-07-16T11:04:07.490" v="410"/>
          <ac:picMkLst>
            <pc:docMk/>
            <pc:sldMk cId="461582943" sldId="291"/>
            <ac:picMk id="24" creationId="{FBA8419A-4E89-DDCF-6920-F77633F2AAD8}"/>
          </ac:picMkLst>
        </pc:picChg>
        <pc:picChg chg="add mod ord">
          <ac:chgData name="Aleksandra Szejko" userId="72bb44d8-1e0c-4109-be82-c57a4fb81907" providerId="ADAL" clId="{F148AB52-FD37-46FA-A16C-2F9835D3C0D5}" dt="2025-07-16T11:11:47.004" v="509" actId="34135"/>
          <ac:picMkLst>
            <pc:docMk/>
            <pc:sldMk cId="461582943" sldId="291"/>
            <ac:picMk id="26" creationId="{E530B3DB-0DC6-C54B-7AE3-2B8BB8DC3923}"/>
          </ac:picMkLst>
        </pc:picChg>
        <pc:cxnChg chg="mod">
          <ac:chgData name="Aleksandra Szejko" userId="72bb44d8-1e0c-4109-be82-c57a4fb81907" providerId="ADAL" clId="{F148AB52-FD37-46FA-A16C-2F9835D3C0D5}" dt="2025-07-16T11:04:11.718" v="411" actId="1076"/>
          <ac:cxnSpMkLst>
            <pc:docMk/>
            <pc:sldMk cId="461582943" sldId="291"/>
            <ac:cxnSpMk id="7" creationId="{EB3FDACE-A138-E0E7-FDF6-C25209F4A568}"/>
          </ac:cxnSpMkLst>
        </pc:cxnChg>
        <pc:cxnChg chg="mod">
          <ac:chgData name="Aleksandra Szejko" userId="72bb44d8-1e0c-4109-be82-c57a4fb81907" providerId="ADAL" clId="{F148AB52-FD37-46FA-A16C-2F9835D3C0D5}" dt="2025-07-16T11:04:11.718" v="411" actId="1076"/>
          <ac:cxnSpMkLst>
            <pc:docMk/>
            <pc:sldMk cId="461582943" sldId="291"/>
            <ac:cxnSpMk id="9" creationId="{F7BC9F35-894D-52A0-1E18-D19EA0C8064A}"/>
          </ac:cxnSpMkLst>
        </pc:cxnChg>
        <pc:cxnChg chg="mod">
          <ac:chgData name="Aleksandra Szejko" userId="72bb44d8-1e0c-4109-be82-c57a4fb81907" providerId="ADAL" clId="{F148AB52-FD37-46FA-A16C-2F9835D3C0D5}" dt="2025-07-16T11:04:11.718" v="411" actId="1076"/>
          <ac:cxnSpMkLst>
            <pc:docMk/>
            <pc:sldMk cId="461582943" sldId="291"/>
            <ac:cxnSpMk id="13" creationId="{84C142F9-9C11-93C4-6C22-2440CD6A51A9}"/>
          </ac:cxnSpMkLst>
        </pc:cxnChg>
      </pc:sldChg>
      <pc:sldChg chg="addSp delSp modSp mod">
        <pc:chgData name="Aleksandra Szejko" userId="72bb44d8-1e0c-4109-be82-c57a4fb81907" providerId="ADAL" clId="{F148AB52-FD37-46FA-A16C-2F9835D3C0D5}" dt="2025-07-16T11:42:30.498" v="881" actId="34135"/>
        <pc:sldMkLst>
          <pc:docMk/>
          <pc:sldMk cId="2911423121" sldId="292"/>
        </pc:sldMkLst>
        <pc:spChg chg="del mod">
          <ac:chgData name="Aleksandra Szejko" userId="72bb44d8-1e0c-4109-be82-c57a4fb81907" providerId="ADAL" clId="{F148AB52-FD37-46FA-A16C-2F9835D3C0D5}" dt="2025-07-16T11:00:47.205" v="361" actId="478"/>
          <ac:spMkLst>
            <pc:docMk/>
            <pc:sldMk cId="2911423121" sldId="292"/>
            <ac:spMk id="2" creationId="{57E5F6CF-04D2-AD1F-F782-1AABB834D43B}"/>
          </ac:spMkLst>
        </pc:spChg>
        <pc:spChg chg="mod">
          <ac:chgData name="Aleksandra Szejko" userId="72bb44d8-1e0c-4109-be82-c57a4fb81907" providerId="ADAL" clId="{F148AB52-FD37-46FA-A16C-2F9835D3C0D5}" dt="2025-07-16T11:01:05.839" v="366" actId="20577"/>
          <ac:spMkLst>
            <pc:docMk/>
            <pc:sldMk cId="2911423121" sldId="292"/>
            <ac:spMk id="3" creationId="{913E6580-ABBE-E367-CEE4-2C8625E6E416}"/>
          </ac:spMkLst>
        </pc:spChg>
        <pc:spChg chg="mod">
          <ac:chgData name="Aleksandra Szejko" userId="72bb44d8-1e0c-4109-be82-c57a4fb81907" providerId="ADAL" clId="{F148AB52-FD37-46FA-A16C-2F9835D3C0D5}" dt="2025-07-16T10:28:12.238" v="314" actId="1076"/>
          <ac:spMkLst>
            <pc:docMk/>
            <pc:sldMk cId="2911423121" sldId="292"/>
            <ac:spMk id="6" creationId="{5B5035C8-442A-A9BD-E5C3-D07956288FC4}"/>
          </ac:spMkLst>
        </pc:spChg>
        <pc:spChg chg="mod">
          <ac:chgData name="Aleksandra Szejko" userId="72bb44d8-1e0c-4109-be82-c57a4fb81907" providerId="ADAL" clId="{F148AB52-FD37-46FA-A16C-2F9835D3C0D5}" dt="2025-07-16T11:21:03.168" v="631" actId="20577"/>
          <ac:spMkLst>
            <pc:docMk/>
            <pc:sldMk cId="2911423121" sldId="292"/>
            <ac:spMk id="7" creationId="{86A9ED5E-F407-6EB9-EB0B-2FF44363606C}"/>
          </ac:spMkLst>
        </pc:spChg>
        <pc:spChg chg="mod">
          <ac:chgData name="Aleksandra Szejko" userId="72bb44d8-1e0c-4109-be82-c57a4fb81907" providerId="ADAL" clId="{F148AB52-FD37-46FA-A16C-2F9835D3C0D5}" dt="2025-07-16T10:28:12.238" v="314" actId="1076"/>
          <ac:spMkLst>
            <pc:docMk/>
            <pc:sldMk cId="2911423121" sldId="292"/>
            <ac:spMk id="8" creationId="{4651247B-7752-9C5E-5068-4168D3FAB030}"/>
          </ac:spMkLst>
        </pc:spChg>
        <pc:spChg chg="add del mod">
          <ac:chgData name="Aleksandra Szejko" userId="72bb44d8-1e0c-4109-be82-c57a4fb81907" providerId="ADAL" clId="{F148AB52-FD37-46FA-A16C-2F9835D3C0D5}" dt="2025-07-16T09:58:18.900" v="237" actId="478"/>
          <ac:spMkLst>
            <pc:docMk/>
            <pc:sldMk cId="2911423121" sldId="292"/>
            <ac:spMk id="11" creationId="{B1A8CB62-45B7-9CC6-7B2E-3B7C82474BD6}"/>
          </ac:spMkLst>
        </pc:spChg>
        <pc:spChg chg="add mod">
          <ac:chgData name="Aleksandra Szejko" userId="72bb44d8-1e0c-4109-be82-c57a4fb81907" providerId="ADAL" clId="{F148AB52-FD37-46FA-A16C-2F9835D3C0D5}" dt="2025-07-16T11:01:45.720" v="380" actId="164"/>
          <ac:spMkLst>
            <pc:docMk/>
            <pc:sldMk cId="2911423121" sldId="292"/>
            <ac:spMk id="38" creationId="{621DA094-C7F2-AD12-E883-76AC69582AA6}"/>
          </ac:spMkLst>
        </pc:spChg>
        <pc:spChg chg="add mod ord">
          <ac:chgData name="Aleksandra Szejko" userId="72bb44d8-1e0c-4109-be82-c57a4fb81907" providerId="ADAL" clId="{F148AB52-FD37-46FA-A16C-2F9835D3C0D5}" dt="2025-07-16T11:42:30.498" v="881" actId="34135"/>
          <ac:spMkLst>
            <pc:docMk/>
            <pc:sldMk cId="2911423121" sldId="292"/>
            <ac:spMk id="65" creationId="{FBDB4ABE-AEC3-4208-E59E-41A54592157B}"/>
          </ac:spMkLst>
        </pc:spChg>
        <pc:grpChg chg="mod">
          <ac:chgData name="Aleksandra Szejko" userId="72bb44d8-1e0c-4109-be82-c57a4fb81907" providerId="ADAL" clId="{F148AB52-FD37-46FA-A16C-2F9835D3C0D5}" dt="2025-07-16T10:28:12.238" v="314" actId="1076"/>
          <ac:grpSpMkLst>
            <pc:docMk/>
            <pc:sldMk cId="2911423121" sldId="292"/>
            <ac:grpSpMk id="10" creationId="{B9754AB0-5432-00C7-42E3-3CB96E37B65E}"/>
          </ac:grpSpMkLst>
        </pc:grpChg>
        <pc:grpChg chg="add del mod">
          <ac:chgData name="Aleksandra Szejko" userId="72bb44d8-1e0c-4109-be82-c57a4fb81907" providerId="ADAL" clId="{F148AB52-FD37-46FA-A16C-2F9835D3C0D5}" dt="2025-07-16T11:00:32.770" v="355" actId="478"/>
          <ac:grpSpMkLst>
            <pc:docMk/>
            <pc:sldMk cId="2911423121" sldId="292"/>
            <ac:grpSpMk id="12" creationId="{139B139A-BCEB-9525-66EA-A50B05C42A21}"/>
          </ac:grpSpMkLst>
        </pc:grpChg>
        <pc:grpChg chg="add mod">
          <ac:chgData name="Aleksandra Szejko" userId="72bb44d8-1e0c-4109-be82-c57a4fb81907" providerId="ADAL" clId="{F148AB52-FD37-46FA-A16C-2F9835D3C0D5}" dt="2025-07-16T11:01:01.366" v="363" actId="1076"/>
          <ac:grpSpMkLst>
            <pc:docMk/>
            <pc:sldMk cId="2911423121" sldId="292"/>
            <ac:grpSpMk id="15" creationId="{6D524F95-8542-8CBC-4962-A22FA4EAAA00}"/>
          </ac:grpSpMkLst>
        </pc:grpChg>
        <pc:grpChg chg="add mod">
          <ac:chgData name="Aleksandra Szejko" userId="72bb44d8-1e0c-4109-be82-c57a4fb81907" providerId="ADAL" clId="{F148AB52-FD37-46FA-A16C-2F9835D3C0D5}" dt="2025-07-16T11:01:01.366" v="363" actId="1076"/>
          <ac:grpSpMkLst>
            <pc:docMk/>
            <pc:sldMk cId="2911423121" sldId="292"/>
            <ac:grpSpMk id="16" creationId="{721A74DE-C49D-F87E-AE68-BEAD9EF3C3E4}"/>
          </ac:grpSpMkLst>
        </pc:grpChg>
        <pc:grpChg chg="add mod">
          <ac:chgData name="Aleksandra Szejko" userId="72bb44d8-1e0c-4109-be82-c57a4fb81907" providerId="ADAL" clId="{F148AB52-FD37-46FA-A16C-2F9835D3C0D5}" dt="2025-07-16T11:01:01.366" v="363" actId="1076"/>
          <ac:grpSpMkLst>
            <pc:docMk/>
            <pc:sldMk cId="2911423121" sldId="292"/>
            <ac:grpSpMk id="19" creationId="{0A978A1A-ADF4-5DC3-14B1-232F7AAF5B95}"/>
          </ac:grpSpMkLst>
        </pc:grpChg>
        <pc:grpChg chg="add mod">
          <ac:chgData name="Aleksandra Szejko" userId="72bb44d8-1e0c-4109-be82-c57a4fb81907" providerId="ADAL" clId="{F148AB52-FD37-46FA-A16C-2F9835D3C0D5}" dt="2025-07-16T11:02:19.753" v="388" actId="1076"/>
          <ac:grpSpMkLst>
            <pc:docMk/>
            <pc:sldMk cId="2911423121" sldId="292"/>
            <ac:grpSpMk id="26" creationId="{B0B88915-52E1-8829-2171-AFC01F638468}"/>
          </ac:grpSpMkLst>
        </pc:grpChg>
        <pc:grpChg chg="add mod">
          <ac:chgData name="Aleksandra Szejko" userId="72bb44d8-1e0c-4109-be82-c57a4fb81907" providerId="ADAL" clId="{F148AB52-FD37-46FA-A16C-2F9835D3C0D5}" dt="2025-07-16T11:02:21.936" v="389" actId="1076"/>
          <ac:grpSpMkLst>
            <pc:docMk/>
            <pc:sldMk cId="2911423121" sldId="292"/>
            <ac:grpSpMk id="27" creationId="{4C626CE3-6BAA-4B4B-C5C2-C2F18FBCFD0B}"/>
          </ac:grpSpMkLst>
        </pc:grpChg>
        <pc:grpChg chg="add mod">
          <ac:chgData name="Aleksandra Szejko" userId="72bb44d8-1e0c-4109-be82-c57a4fb81907" providerId="ADAL" clId="{F148AB52-FD37-46FA-A16C-2F9835D3C0D5}" dt="2025-07-16T11:02:26.676" v="390" actId="1076"/>
          <ac:grpSpMkLst>
            <pc:docMk/>
            <pc:sldMk cId="2911423121" sldId="292"/>
            <ac:grpSpMk id="30" creationId="{A75135BA-AE01-657F-7FC0-F34455662814}"/>
          </ac:grpSpMkLst>
        </pc:grpChg>
        <pc:grpChg chg="add del mod">
          <ac:chgData name="Aleksandra Szejko" userId="72bb44d8-1e0c-4109-be82-c57a4fb81907" providerId="ADAL" clId="{F148AB52-FD37-46FA-A16C-2F9835D3C0D5}" dt="2025-07-16T10:58:15.102" v="317" actId="165"/>
          <ac:grpSpMkLst>
            <pc:docMk/>
            <pc:sldMk cId="2911423121" sldId="292"/>
            <ac:grpSpMk id="39" creationId="{9E65CC58-763A-A8CD-8995-A65AEF729A8E}"/>
          </ac:grpSpMkLst>
        </pc:grpChg>
        <pc:grpChg chg="add mod">
          <ac:chgData name="Aleksandra Szejko" userId="72bb44d8-1e0c-4109-be82-c57a4fb81907" providerId="ADAL" clId="{F148AB52-FD37-46FA-A16C-2F9835D3C0D5}" dt="2025-07-16T11:01:49.729" v="381" actId="1076"/>
          <ac:grpSpMkLst>
            <pc:docMk/>
            <pc:sldMk cId="2911423121" sldId="292"/>
            <ac:grpSpMk id="63" creationId="{85E9C3D3-EC2A-2C20-DE2D-9D502C858B09}"/>
          </ac:grpSpMkLst>
        </pc:grpChg>
        <pc:picChg chg="mod">
          <ac:chgData name="Aleksandra Szejko" userId="72bb44d8-1e0c-4109-be82-c57a4fb81907" providerId="ADAL" clId="{F148AB52-FD37-46FA-A16C-2F9835D3C0D5}" dt="2025-07-16T10:28:12.238" v="314" actId="1076"/>
          <ac:picMkLst>
            <pc:docMk/>
            <pc:sldMk cId="2911423121" sldId="292"/>
            <ac:picMk id="4" creationId="{DD8AF557-6F4C-F90E-CF81-7BF7BDED35ED}"/>
          </ac:picMkLst>
        </pc:picChg>
        <pc:picChg chg="add mod">
          <ac:chgData name="Aleksandra Szejko" userId="72bb44d8-1e0c-4109-be82-c57a4fb81907" providerId="ADAL" clId="{F148AB52-FD37-46FA-A16C-2F9835D3C0D5}" dt="2025-07-16T09:59:18.477" v="250" actId="164"/>
          <ac:picMkLst>
            <pc:docMk/>
            <pc:sldMk cId="2911423121" sldId="292"/>
            <ac:picMk id="9" creationId="{4D5CFF13-CACF-6062-B031-6503E1430591}"/>
          </ac:picMkLst>
        </pc:picChg>
        <pc:picChg chg="add mod">
          <ac:chgData name="Aleksandra Szejko" userId="72bb44d8-1e0c-4109-be82-c57a4fb81907" providerId="ADAL" clId="{F148AB52-FD37-46FA-A16C-2F9835D3C0D5}" dt="2025-07-16T09:59:18.477" v="250" actId="164"/>
          <ac:picMkLst>
            <pc:docMk/>
            <pc:sldMk cId="2911423121" sldId="292"/>
            <ac:picMk id="14" creationId="{DBD3E28F-D78A-093F-7210-49FBE2A4C09B}"/>
          </ac:picMkLst>
        </pc:picChg>
        <pc:picChg chg="mod">
          <ac:chgData name="Aleksandra Szejko" userId="72bb44d8-1e0c-4109-be82-c57a4fb81907" providerId="ADAL" clId="{F148AB52-FD37-46FA-A16C-2F9835D3C0D5}" dt="2025-07-16T10:25:52.835" v="279" actId="1076"/>
          <ac:picMkLst>
            <pc:docMk/>
            <pc:sldMk cId="2911423121" sldId="292"/>
            <ac:picMk id="17" creationId="{3D8FDBF1-E19C-9F2C-D46F-3984DE98DEEF}"/>
          </ac:picMkLst>
        </pc:picChg>
        <pc:picChg chg="mod">
          <ac:chgData name="Aleksandra Szejko" userId="72bb44d8-1e0c-4109-be82-c57a4fb81907" providerId="ADAL" clId="{F148AB52-FD37-46FA-A16C-2F9835D3C0D5}" dt="2025-07-16T10:25:52.835" v="279" actId="1076"/>
          <ac:picMkLst>
            <pc:docMk/>
            <pc:sldMk cId="2911423121" sldId="292"/>
            <ac:picMk id="18" creationId="{C1DAA43C-D703-5B82-391E-8B74DE6979FF}"/>
          </ac:picMkLst>
        </pc:picChg>
        <pc:picChg chg="mod">
          <ac:chgData name="Aleksandra Szejko" userId="72bb44d8-1e0c-4109-be82-c57a4fb81907" providerId="ADAL" clId="{F148AB52-FD37-46FA-A16C-2F9835D3C0D5}" dt="2025-07-16T09:59:43.067" v="254"/>
          <ac:picMkLst>
            <pc:docMk/>
            <pc:sldMk cId="2911423121" sldId="292"/>
            <ac:picMk id="20" creationId="{124B9AF7-5E37-7852-7AA8-205F0BCFBCE6}"/>
          </ac:picMkLst>
        </pc:picChg>
        <pc:picChg chg="mod">
          <ac:chgData name="Aleksandra Szejko" userId="72bb44d8-1e0c-4109-be82-c57a4fb81907" providerId="ADAL" clId="{F148AB52-FD37-46FA-A16C-2F9835D3C0D5}" dt="2025-07-16T09:59:43.067" v="254"/>
          <ac:picMkLst>
            <pc:docMk/>
            <pc:sldMk cId="2911423121" sldId="292"/>
            <ac:picMk id="21" creationId="{A7467E52-BCEB-CA95-968B-1AB493A4393D}"/>
          </ac:picMkLst>
        </pc:picChg>
        <pc:picChg chg="add mod">
          <ac:chgData name="Aleksandra Szejko" userId="72bb44d8-1e0c-4109-be82-c57a4fb81907" providerId="ADAL" clId="{F148AB52-FD37-46FA-A16C-2F9835D3C0D5}" dt="2025-07-16T10:14:40.241" v="273" actId="164"/>
          <ac:picMkLst>
            <pc:docMk/>
            <pc:sldMk cId="2911423121" sldId="292"/>
            <ac:picMk id="23" creationId="{AA13B906-CAD5-87BF-5323-F4AF15003C55}"/>
          </ac:picMkLst>
        </pc:picChg>
        <pc:picChg chg="add mod">
          <ac:chgData name="Aleksandra Szejko" userId="72bb44d8-1e0c-4109-be82-c57a4fb81907" providerId="ADAL" clId="{F148AB52-FD37-46FA-A16C-2F9835D3C0D5}" dt="2025-07-16T10:14:40.241" v="273" actId="164"/>
          <ac:picMkLst>
            <pc:docMk/>
            <pc:sldMk cId="2911423121" sldId="292"/>
            <ac:picMk id="25" creationId="{4B555222-13C9-27DD-746A-572D045425DA}"/>
          </ac:picMkLst>
        </pc:picChg>
        <pc:picChg chg="mod">
          <ac:chgData name="Aleksandra Szejko" userId="72bb44d8-1e0c-4109-be82-c57a4fb81907" providerId="ADAL" clId="{F148AB52-FD37-46FA-A16C-2F9835D3C0D5}" dt="2025-07-16T10:14:42.369" v="274"/>
          <ac:picMkLst>
            <pc:docMk/>
            <pc:sldMk cId="2911423121" sldId="292"/>
            <ac:picMk id="28" creationId="{DFFE0847-9507-5B4E-2817-217860D1DC13}"/>
          </ac:picMkLst>
        </pc:picChg>
        <pc:picChg chg="mod">
          <ac:chgData name="Aleksandra Szejko" userId="72bb44d8-1e0c-4109-be82-c57a4fb81907" providerId="ADAL" clId="{F148AB52-FD37-46FA-A16C-2F9835D3C0D5}" dt="2025-07-16T10:14:42.369" v="274"/>
          <ac:picMkLst>
            <pc:docMk/>
            <pc:sldMk cId="2911423121" sldId="292"/>
            <ac:picMk id="29" creationId="{A37DB62B-B298-D4BD-D3D1-254958A37585}"/>
          </ac:picMkLst>
        </pc:picChg>
        <pc:picChg chg="mod">
          <ac:chgData name="Aleksandra Szejko" userId="72bb44d8-1e0c-4109-be82-c57a4fb81907" providerId="ADAL" clId="{F148AB52-FD37-46FA-A16C-2F9835D3C0D5}" dt="2025-07-16T10:14:45.230" v="276"/>
          <ac:picMkLst>
            <pc:docMk/>
            <pc:sldMk cId="2911423121" sldId="292"/>
            <ac:picMk id="31" creationId="{77C8F5F8-9ABD-8D44-6AFE-3ED8961BA9AE}"/>
          </ac:picMkLst>
        </pc:picChg>
        <pc:picChg chg="mod">
          <ac:chgData name="Aleksandra Szejko" userId="72bb44d8-1e0c-4109-be82-c57a4fb81907" providerId="ADAL" clId="{F148AB52-FD37-46FA-A16C-2F9835D3C0D5}" dt="2025-07-16T10:14:45.230" v="276"/>
          <ac:picMkLst>
            <pc:docMk/>
            <pc:sldMk cId="2911423121" sldId="292"/>
            <ac:picMk id="32" creationId="{2DC08920-3279-5CCC-60A7-220EF2BD3EF1}"/>
          </ac:picMkLst>
        </pc:picChg>
        <pc:picChg chg="add mod ord">
          <ac:chgData name="Aleksandra Szejko" userId="72bb44d8-1e0c-4109-be82-c57a4fb81907" providerId="ADAL" clId="{F148AB52-FD37-46FA-A16C-2F9835D3C0D5}" dt="2025-07-16T11:03:16.566" v="399" actId="1076"/>
          <ac:picMkLst>
            <pc:docMk/>
            <pc:sldMk cId="2911423121" sldId="292"/>
            <ac:picMk id="33" creationId="{9817F615-CF05-DEE6-7EB2-4A7340935D1A}"/>
          </ac:picMkLst>
        </pc:picChg>
        <pc:picChg chg="add del mod">
          <ac:chgData name="Aleksandra Szejko" userId="72bb44d8-1e0c-4109-be82-c57a4fb81907" providerId="ADAL" clId="{F148AB52-FD37-46FA-A16C-2F9835D3C0D5}" dt="2025-07-16T11:01:02.753" v="364" actId="478"/>
          <ac:picMkLst>
            <pc:docMk/>
            <pc:sldMk cId="2911423121" sldId="292"/>
            <ac:picMk id="35" creationId="{0DBD6EF2-2CDE-070B-7863-86CE26FDD13E}"/>
          </ac:picMkLst>
        </pc:picChg>
        <pc:picChg chg="add mod">
          <ac:chgData name="Aleksandra Szejko" userId="72bb44d8-1e0c-4109-be82-c57a4fb81907" providerId="ADAL" clId="{F148AB52-FD37-46FA-A16C-2F9835D3C0D5}" dt="2025-07-16T11:01:45.720" v="380" actId="164"/>
          <ac:picMkLst>
            <pc:docMk/>
            <pc:sldMk cId="2911423121" sldId="292"/>
            <ac:picMk id="37" creationId="{C0E80DA8-DE91-B89F-2564-BE2B73BCFE55}"/>
          </ac:picMkLst>
        </pc:picChg>
        <pc:picChg chg="mod ord topLvl modCrop">
          <ac:chgData name="Aleksandra Szejko" userId="72bb44d8-1e0c-4109-be82-c57a4fb81907" providerId="ADAL" clId="{F148AB52-FD37-46FA-A16C-2F9835D3C0D5}" dt="2025-07-16T11:03:12.906" v="398" actId="1076"/>
          <ac:picMkLst>
            <pc:docMk/>
            <pc:sldMk cId="2911423121" sldId="292"/>
            <ac:picMk id="40" creationId="{57ED72B1-46D2-5A48-D079-F82852F0B1AA}"/>
          </ac:picMkLst>
        </pc:picChg>
        <pc:picChg chg="del mod topLvl">
          <ac:chgData name="Aleksandra Szejko" userId="72bb44d8-1e0c-4109-be82-c57a4fb81907" providerId="ADAL" clId="{F148AB52-FD37-46FA-A16C-2F9835D3C0D5}" dt="2025-07-16T10:58:24.915" v="319" actId="478"/>
          <ac:picMkLst>
            <pc:docMk/>
            <pc:sldMk cId="2911423121" sldId="292"/>
            <ac:picMk id="41" creationId="{317A15B6-B7FC-DF97-03C7-FF44FC6CADAB}"/>
          </ac:picMkLst>
        </pc:picChg>
        <pc:cxnChg chg="add mod ord">
          <ac:chgData name="Aleksandra Szejko" userId="72bb44d8-1e0c-4109-be82-c57a4fb81907" providerId="ADAL" clId="{F148AB52-FD37-46FA-A16C-2F9835D3C0D5}" dt="2025-07-16T11:02:06.004" v="385" actId="1076"/>
          <ac:cxnSpMkLst>
            <pc:docMk/>
            <pc:sldMk cId="2911423121" sldId="292"/>
            <ac:cxnSpMk id="43" creationId="{035D8917-86B9-EB7F-28AD-E3EE32E652BB}"/>
          </ac:cxnSpMkLst>
        </pc:cxnChg>
        <pc:cxnChg chg="add mod ord">
          <ac:chgData name="Aleksandra Szejko" userId="72bb44d8-1e0c-4109-be82-c57a4fb81907" providerId="ADAL" clId="{F148AB52-FD37-46FA-A16C-2F9835D3C0D5}" dt="2025-07-16T11:02:13.490" v="387" actId="14100"/>
          <ac:cxnSpMkLst>
            <pc:docMk/>
            <pc:sldMk cId="2911423121" sldId="292"/>
            <ac:cxnSpMk id="44" creationId="{95E3E810-056E-E5A5-2EF7-579647524E99}"/>
          </ac:cxnSpMkLst>
        </pc:cxnChg>
        <pc:cxnChg chg="add mod ord">
          <ac:chgData name="Aleksandra Szejko" userId="72bb44d8-1e0c-4109-be82-c57a4fb81907" providerId="ADAL" clId="{F148AB52-FD37-46FA-A16C-2F9835D3C0D5}" dt="2025-07-16T11:02:06.004" v="385" actId="1076"/>
          <ac:cxnSpMkLst>
            <pc:docMk/>
            <pc:sldMk cId="2911423121" sldId="292"/>
            <ac:cxnSpMk id="45" creationId="{CD2C09E4-B4AE-0726-3C6B-23A288EC03B7}"/>
          </ac:cxnSpMkLst>
        </pc:cxnChg>
        <pc:cxnChg chg="add mod ord">
          <ac:chgData name="Aleksandra Szejko" userId="72bb44d8-1e0c-4109-be82-c57a4fb81907" providerId="ADAL" clId="{F148AB52-FD37-46FA-A16C-2F9835D3C0D5}" dt="2025-07-16T11:01:32.656" v="375" actId="167"/>
          <ac:cxnSpMkLst>
            <pc:docMk/>
            <pc:sldMk cId="2911423121" sldId="292"/>
            <ac:cxnSpMk id="48" creationId="{6E2E9C0D-177C-8DC2-6139-DB8C0AE13E14}"/>
          </ac:cxnSpMkLst>
        </pc:cxnChg>
        <pc:cxnChg chg="add mod ord">
          <ac:chgData name="Aleksandra Szejko" userId="72bb44d8-1e0c-4109-be82-c57a4fb81907" providerId="ADAL" clId="{F148AB52-FD37-46FA-A16C-2F9835D3C0D5}" dt="2025-07-16T11:01:32.656" v="375" actId="167"/>
          <ac:cxnSpMkLst>
            <pc:docMk/>
            <pc:sldMk cId="2911423121" sldId="292"/>
            <ac:cxnSpMk id="49" creationId="{521C9B4F-1564-D550-FAE7-5CCDB732A8FE}"/>
          </ac:cxnSpMkLst>
        </pc:cxnChg>
        <pc:cxnChg chg="add mod ord">
          <ac:chgData name="Aleksandra Szejko" userId="72bb44d8-1e0c-4109-be82-c57a4fb81907" providerId="ADAL" clId="{F148AB52-FD37-46FA-A16C-2F9835D3C0D5}" dt="2025-07-16T11:01:32.656" v="375" actId="167"/>
          <ac:cxnSpMkLst>
            <pc:docMk/>
            <pc:sldMk cId="2911423121" sldId="292"/>
            <ac:cxnSpMk id="50" creationId="{E80A453C-9ADF-E049-6114-5F4CC43E42B3}"/>
          </ac:cxnSpMkLst>
        </pc:cxnChg>
      </pc:sldChg>
      <pc:sldChg chg="addSp delSp modSp mod">
        <pc:chgData name="Aleksandra Szejko" userId="72bb44d8-1e0c-4109-be82-c57a4fb81907" providerId="ADAL" clId="{F148AB52-FD37-46FA-A16C-2F9835D3C0D5}" dt="2025-07-16T11:42:26.904" v="880" actId="34135"/>
        <pc:sldMkLst>
          <pc:docMk/>
          <pc:sldMk cId="2487804868" sldId="293"/>
        </pc:sldMkLst>
        <pc:spChg chg="mod">
          <ac:chgData name="Aleksandra Szejko" userId="72bb44d8-1e0c-4109-be82-c57a4fb81907" providerId="ADAL" clId="{F148AB52-FD37-46FA-A16C-2F9835D3C0D5}" dt="2025-07-16T11:34:36.433" v="786" actId="20577"/>
          <ac:spMkLst>
            <pc:docMk/>
            <pc:sldMk cId="2487804868" sldId="293"/>
            <ac:spMk id="3" creationId="{E7976B62-C505-FB4D-8130-1FCB5C05DAC3}"/>
          </ac:spMkLst>
        </pc:spChg>
        <pc:spChg chg="mod">
          <ac:chgData name="Aleksandra Szejko" userId="72bb44d8-1e0c-4109-be82-c57a4fb81907" providerId="ADAL" clId="{F148AB52-FD37-46FA-A16C-2F9835D3C0D5}" dt="2025-07-16T09:33:38.075" v="141" actId="790"/>
          <ac:spMkLst>
            <pc:docMk/>
            <pc:sldMk cId="2487804868" sldId="293"/>
            <ac:spMk id="4" creationId="{A6DD9231-F7C9-8596-CBFA-2D0E950E8F55}"/>
          </ac:spMkLst>
        </pc:spChg>
        <pc:spChg chg="mod">
          <ac:chgData name="Aleksandra Szejko" userId="72bb44d8-1e0c-4109-be82-c57a4fb81907" providerId="ADAL" clId="{F148AB52-FD37-46FA-A16C-2F9835D3C0D5}" dt="2025-07-16T09:33:38.075" v="141" actId="790"/>
          <ac:spMkLst>
            <pc:docMk/>
            <pc:sldMk cId="2487804868" sldId="293"/>
            <ac:spMk id="5" creationId="{5FE21BB8-8EF3-7FE8-23BE-E91B3BA818A2}"/>
          </ac:spMkLst>
        </pc:spChg>
        <pc:spChg chg="del mod">
          <ac:chgData name="Aleksandra Szejko" userId="72bb44d8-1e0c-4109-be82-c57a4fb81907" providerId="ADAL" clId="{F148AB52-FD37-46FA-A16C-2F9835D3C0D5}" dt="2025-07-16T11:33:02.443" v="774" actId="478"/>
          <ac:spMkLst>
            <pc:docMk/>
            <pc:sldMk cId="2487804868" sldId="293"/>
            <ac:spMk id="6" creationId="{8137C8F4-CD28-A1A8-2525-5172AAE49424}"/>
          </ac:spMkLst>
        </pc:spChg>
        <pc:spChg chg="mod">
          <ac:chgData name="Aleksandra Szejko" userId="72bb44d8-1e0c-4109-be82-c57a4fb81907" providerId="ADAL" clId="{F148AB52-FD37-46FA-A16C-2F9835D3C0D5}" dt="2025-07-16T09:33:38.075" v="141" actId="790"/>
          <ac:spMkLst>
            <pc:docMk/>
            <pc:sldMk cId="2487804868" sldId="293"/>
            <ac:spMk id="8" creationId="{D53268C8-A6D6-E796-7FB4-8ADA0949F993}"/>
          </ac:spMkLst>
        </pc:spChg>
        <pc:spChg chg="mod">
          <ac:chgData name="Aleksandra Szejko" userId="72bb44d8-1e0c-4109-be82-c57a4fb81907" providerId="ADAL" clId="{F148AB52-FD37-46FA-A16C-2F9835D3C0D5}" dt="2025-07-16T11:21:27.795" v="639" actId="403"/>
          <ac:spMkLst>
            <pc:docMk/>
            <pc:sldMk cId="2487804868" sldId="293"/>
            <ac:spMk id="17" creationId="{40B50E1E-B5B2-4AF0-121E-7DAC195A09F1}"/>
          </ac:spMkLst>
        </pc:spChg>
        <pc:spChg chg="add mod">
          <ac:chgData name="Aleksandra Szejko" userId="72bb44d8-1e0c-4109-be82-c57a4fb81907" providerId="ADAL" clId="{F148AB52-FD37-46FA-A16C-2F9835D3C0D5}" dt="2025-07-16T11:33:42.752" v="782" actId="14100"/>
          <ac:spMkLst>
            <pc:docMk/>
            <pc:sldMk cId="2487804868" sldId="293"/>
            <ac:spMk id="18" creationId="{CF3B7FE6-B9B5-A8D4-E424-4C5EB48B5F0E}"/>
          </ac:spMkLst>
        </pc:spChg>
        <pc:spChg chg="add mod ord">
          <ac:chgData name="Aleksandra Szejko" userId="72bb44d8-1e0c-4109-be82-c57a4fb81907" providerId="ADAL" clId="{F148AB52-FD37-46FA-A16C-2F9835D3C0D5}" dt="2025-07-16T11:33:37.803" v="781" actId="1076"/>
          <ac:spMkLst>
            <pc:docMk/>
            <pc:sldMk cId="2487804868" sldId="293"/>
            <ac:spMk id="34" creationId="{4B2D1409-CB9F-2B91-4860-C7C773C66387}"/>
          </ac:spMkLst>
        </pc:spChg>
        <pc:spChg chg="add mod">
          <ac:chgData name="Aleksandra Szejko" userId="72bb44d8-1e0c-4109-be82-c57a4fb81907" providerId="ADAL" clId="{F148AB52-FD37-46FA-A16C-2F9835D3C0D5}" dt="2025-07-16T11:42:13.331" v="879" actId="207"/>
          <ac:spMkLst>
            <pc:docMk/>
            <pc:sldMk cId="2487804868" sldId="293"/>
            <ac:spMk id="61" creationId="{0EC1E879-C433-03C3-B723-CB094582BA38}"/>
          </ac:spMkLst>
        </pc:spChg>
        <pc:spChg chg="mod">
          <ac:chgData name="Aleksandra Szejko" userId="72bb44d8-1e0c-4109-be82-c57a4fb81907" providerId="ADAL" clId="{F148AB52-FD37-46FA-A16C-2F9835D3C0D5}" dt="2025-07-16T11:42:07.459" v="878" actId="207"/>
          <ac:spMkLst>
            <pc:docMk/>
            <pc:sldMk cId="2487804868" sldId="293"/>
            <ac:spMk id="79" creationId="{A73E0268-0C98-5AED-74D6-E8FE21AE6318}"/>
          </ac:spMkLst>
        </pc:spChg>
        <pc:spChg chg="add mod">
          <ac:chgData name="Aleksandra Szejko" userId="72bb44d8-1e0c-4109-be82-c57a4fb81907" providerId="ADAL" clId="{F148AB52-FD37-46FA-A16C-2F9835D3C0D5}" dt="2025-07-16T11:33:37.803" v="781" actId="1076"/>
          <ac:spMkLst>
            <pc:docMk/>
            <pc:sldMk cId="2487804868" sldId="293"/>
            <ac:spMk id="91" creationId="{F90B8ABB-11F2-58EE-5F6C-E1873CC506BA}"/>
          </ac:spMkLst>
        </pc:spChg>
        <pc:spChg chg="add mod">
          <ac:chgData name="Aleksandra Szejko" userId="72bb44d8-1e0c-4109-be82-c57a4fb81907" providerId="ADAL" clId="{F148AB52-FD37-46FA-A16C-2F9835D3C0D5}" dt="2025-07-16T11:33:37.803" v="781" actId="1076"/>
          <ac:spMkLst>
            <pc:docMk/>
            <pc:sldMk cId="2487804868" sldId="293"/>
            <ac:spMk id="92" creationId="{111EEC30-5960-2E99-5A1D-D0B1A77DA17B}"/>
          </ac:spMkLst>
        </pc:spChg>
        <pc:spChg chg="add mod ord">
          <ac:chgData name="Aleksandra Szejko" userId="72bb44d8-1e0c-4109-be82-c57a4fb81907" providerId="ADAL" clId="{F148AB52-FD37-46FA-A16C-2F9835D3C0D5}" dt="2025-07-16T11:36:08.555" v="852" actId="692"/>
          <ac:spMkLst>
            <pc:docMk/>
            <pc:sldMk cId="2487804868" sldId="293"/>
            <ac:spMk id="93" creationId="{EB06BD83-3F78-511F-9AE7-DD1417200287}"/>
          </ac:spMkLst>
        </pc:spChg>
        <pc:spChg chg="add mod ord">
          <ac:chgData name="Aleksandra Szejko" userId="72bb44d8-1e0c-4109-be82-c57a4fb81907" providerId="ADAL" clId="{F148AB52-FD37-46FA-A16C-2F9835D3C0D5}" dt="2025-07-16T11:42:26.904" v="880" actId="34135"/>
          <ac:spMkLst>
            <pc:docMk/>
            <pc:sldMk cId="2487804868" sldId="293"/>
            <ac:spMk id="94" creationId="{5923ED50-24A7-48F1-92E0-820431A11C4E}"/>
          </ac:spMkLst>
        </pc:spChg>
        <pc:grpChg chg="add mod">
          <ac:chgData name="Aleksandra Szejko" userId="72bb44d8-1e0c-4109-be82-c57a4fb81907" providerId="ADAL" clId="{F148AB52-FD37-46FA-A16C-2F9835D3C0D5}" dt="2025-07-16T11:03:34.924" v="404" actId="14100"/>
          <ac:grpSpMkLst>
            <pc:docMk/>
            <pc:sldMk cId="2487804868" sldId="293"/>
            <ac:grpSpMk id="7" creationId="{4A65BDEE-59C4-1564-D3B3-631B0A1E9835}"/>
          </ac:grpSpMkLst>
        </pc:grpChg>
        <pc:grpChg chg="del ord">
          <ac:chgData name="Aleksandra Szejko" userId="72bb44d8-1e0c-4109-be82-c57a4fb81907" providerId="ADAL" clId="{F148AB52-FD37-46FA-A16C-2F9835D3C0D5}" dt="2025-07-16T11:33:04.941" v="775" actId="478"/>
          <ac:grpSpMkLst>
            <pc:docMk/>
            <pc:sldMk cId="2487804868" sldId="293"/>
            <ac:grpSpMk id="10" creationId="{AB7B5331-A0A2-ACC9-C0C6-5D77463A806D}"/>
          </ac:grpSpMkLst>
        </pc:grpChg>
        <pc:grpChg chg="add del mod">
          <ac:chgData name="Aleksandra Szejko" userId="72bb44d8-1e0c-4109-be82-c57a4fb81907" providerId="ADAL" clId="{F148AB52-FD37-46FA-A16C-2F9835D3C0D5}" dt="2025-07-16T11:03:48.615" v="408" actId="478"/>
          <ac:grpSpMkLst>
            <pc:docMk/>
            <pc:sldMk cId="2487804868" sldId="293"/>
            <ac:grpSpMk id="12" creationId="{93D0561B-689B-0467-5A52-1FB97C35F565}"/>
          </ac:grpSpMkLst>
        </pc:grpChg>
        <pc:grpChg chg="add mod">
          <ac:chgData name="Aleksandra Szejko" userId="72bb44d8-1e0c-4109-be82-c57a4fb81907" providerId="ADAL" clId="{F148AB52-FD37-46FA-A16C-2F9835D3C0D5}" dt="2025-07-16T11:21:24.163" v="635" actId="1076"/>
          <ac:grpSpMkLst>
            <pc:docMk/>
            <pc:sldMk cId="2487804868" sldId="293"/>
            <ac:grpSpMk id="15" creationId="{69E66099-FFBD-8BDE-A963-FAD35F75C940}"/>
          </ac:grpSpMkLst>
        </pc:grpChg>
        <pc:grpChg chg="add mod ord">
          <ac:chgData name="Aleksandra Szejko" userId="72bb44d8-1e0c-4109-be82-c57a4fb81907" providerId="ADAL" clId="{F148AB52-FD37-46FA-A16C-2F9835D3C0D5}" dt="2025-07-16T11:33:23.050" v="780" actId="166"/>
          <ac:grpSpMkLst>
            <pc:docMk/>
            <pc:sldMk cId="2487804868" sldId="293"/>
            <ac:grpSpMk id="19" creationId="{A7DA486B-7102-A32A-3E21-93A90FDB93A0}"/>
          </ac:grpSpMkLst>
        </pc:grpChg>
        <pc:grpChg chg="add mod ord">
          <ac:chgData name="Aleksandra Szejko" userId="72bb44d8-1e0c-4109-be82-c57a4fb81907" providerId="ADAL" clId="{F148AB52-FD37-46FA-A16C-2F9835D3C0D5}" dt="2025-07-16T11:33:23.050" v="780" actId="166"/>
          <ac:grpSpMkLst>
            <pc:docMk/>
            <pc:sldMk cId="2487804868" sldId="293"/>
            <ac:grpSpMk id="22" creationId="{5BDA22BB-DABE-424E-F9DD-834E94D339DB}"/>
          </ac:grpSpMkLst>
        </pc:grpChg>
        <pc:grpChg chg="add mod ord">
          <ac:chgData name="Aleksandra Szejko" userId="72bb44d8-1e0c-4109-be82-c57a4fb81907" providerId="ADAL" clId="{F148AB52-FD37-46FA-A16C-2F9835D3C0D5}" dt="2025-07-16T11:33:23.050" v="780" actId="166"/>
          <ac:grpSpMkLst>
            <pc:docMk/>
            <pc:sldMk cId="2487804868" sldId="293"/>
            <ac:grpSpMk id="25" creationId="{63BED7CC-072C-1C5D-7521-C90B93C2B5D7}"/>
          </ac:grpSpMkLst>
        </pc:grpChg>
        <pc:grpChg chg="add mod ord">
          <ac:chgData name="Aleksandra Szejko" userId="72bb44d8-1e0c-4109-be82-c57a4fb81907" providerId="ADAL" clId="{F148AB52-FD37-46FA-A16C-2F9835D3C0D5}" dt="2025-07-16T11:33:37.803" v="781" actId="1076"/>
          <ac:grpSpMkLst>
            <pc:docMk/>
            <pc:sldMk cId="2487804868" sldId="293"/>
            <ac:grpSpMk id="28" creationId="{F62810FB-A6C4-6504-988C-0E0B1B299481}"/>
          </ac:grpSpMkLst>
        </pc:grpChg>
        <pc:grpChg chg="add mod">
          <ac:chgData name="Aleksandra Szejko" userId="72bb44d8-1e0c-4109-be82-c57a4fb81907" providerId="ADAL" clId="{F148AB52-FD37-46FA-A16C-2F9835D3C0D5}" dt="2025-07-16T11:23:43.856" v="672" actId="1076"/>
          <ac:grpSpMkLst>
            <pc:docMk/>
            <pc:sldMk cId="2487804868" sldId="293"/>
            <ac:grpSpMk id="35" creationId="{5E0EFB54-F390-BB10-1203-27904AD09211}"/>
          </ac:grpSpMkLst>
        </pc:grpChg>
        <pc:grpChg chg="mod">
          <ac:chgData name="Aleksandra Szejko" userId="72bb44d8-1e0c-4109-be82-c57a4fb81907" providerId="ADAL" clId="{F148AB52-FD37-46FA-A16C-2F9835D3C0D5}" dt="2025-07-16T11:32:04.425" v="742" actId="1076"/>
          <ac:grpSpMkLst>
            <pc:docMk/>
            <pc:sldMk cId="2487804868" sldId="293"/>
            <ac:grpSpMk id="77" creationId="{DEBCD47F-84EB-CB48-24BE-C2BAF13BC349}"/>
          </ac:grpSpMkLst>
        </pc:grpChg>
        <pc:grpChg chg="mod">
          <ac:chgData name="Aleksandra Szejko" userId="72bb44d8-1e0c-4109-be82-c57a4fb81907" providerId="ADAL" clId="{F148AB52-FD37-46FA-A16C-2F9835D3C0D5}" dt="2025-07-16T11:32:08.512" v="744" actId="1076"/>
          <ac:grpSpMkLst>
            <pc:docMk/>
            <pc:sldMk cId="2487804868" sldId="293"/>
            <ac:grpSpMk id="78" creationId="{D6946F35-00B4-4DC1-A570-59286B7C6EF9}"/>
          </ac:grpSpMkLst>
        </pc:grpChg>
        <pc:picChg chg="mod">
          <ac:chgData name="Aleksandra Szejko" userId="72bb44d8-1e0c-4109-be82-c57a4fb81907" providerId="ADAL" clId="{F148AB52-FD37-46FA-A16C-2F9835D3C0D5}" dt="2025-07-16T11:12:05.473" v="512" actId="1076"/>
          <ac:picMkLst>
            <pc:docMk/>
            <pc:sldMk cId="2487804868" sldId="293"/>
            <ac:picMk id="2" creationId="{1B651912-5D57-97FA-17A5-E6E9AB9D3447}"/>
          </ac:picMkLst>
        </pc:picChg>
        <pc:picChg chg="mod">
          <ac:chgData name="Aleksandra Szejko" userId="72bb44d8-1e0c-4109-be82-c57a4fb81907" providerId="ADAL" clId="{F148AB52-FD37-46FA-A16C-2F9835D3C0D5}" dt="2025-07-16T11:03:29.059" v="400"/>
          <ac:picMkLst>
            <pc:docMk/>
            <pc:sldMk cId="2487804868" sldId="293"/>
            <ac:picMk id="9" creationId="{5840F175-A816-0028-F894-FFA6BBF56319}"/>
          </ac:picMkLst>
        </pc:picChg>
        <pc:picChg chg="mod">
          <ac:chgData name="Aleksandra Szejko" userId="72bb44d8-1e0c-4109-be82-c57a4fb81907" providerId="ADAL" clId="{F148AB52-FD37-46FA-A16C-2F9835D3C0D5}" dt="2025-07-16T11:03:29.059" v="400"/>
          <ac:picMkLst>
            <pc:docMk/>
            <pc:sldMk cId="2487804868" sldId="293"/>
            <ac:picMk id="11" creationId="{4EAF9C71-EDAC-2554-4AC6-F7EFF5D642D9}"/>
          </ac:picMkLst>
        </pc:picChg>
        <pc:picChg chg="mod">
          <ac:chgData name="Aleksandra Szejko" userId="72bb44d8-1e0c-4109-be82-c57a4fb81907" providerId="ADAL" clId="{F148AB52-FD37-46FA-A16C-2F9835D3C0D5}" dt="2025-07-16T11:03:38.023" v="405"/>
          <ac:picMkLst>
            <pc:docMk/>
            <pc:sldMk cId="2487804868" sldId="293"/>
            <ac:picMk id="13" creationId="{66C092A2-2060-63B2-53CE-1C7E27C0F104}"/>
          </ac:picMkLst>
        </pc:picChg>
        <pc:picChg chg="mod">
          <ac:chgData name="Aleksandra Szejko" userId="72bb44d8-1e0c-4109-be82-c57a4fb81907" providerId="ADAL" clId="{F148AB52-FD37-46FA-A16C-2F9835D3C0D5}" dt="2025-07-16T11:03:38.023" v="405"/>
          <ac:picMkLst>
            <pc:docMk/>
            <pc:sldMk cId="2487804868" sldId="293"/>
            <ac:picMk id="14" creationId="{8EF701E3-6ECF-236F-D64D-8752BDE7CDA4}"/>
          </ac:picMkLst>
        </pc:picChg>
        <pc:picChg chg="mod">
          <ac:chgData name="Aleksandra Szejko" userId="72bb44d8-1e0c-4109-be82-c57a4fb81907" providerId="ADAL" clId="{F148AB52-FD37-46FA-A16C-2F9835D3C0D5}" dt="2025-07-16T11:21:15.691" v="632"/>
          <ac:picMkLst>
            <pc:docMk/>
            <pc:sldMk cId="2487804868" sldId="293"/>
            <ac:picMk id="16" creationId="{4B5938A2-E0AA-DB69-279F-00CA95206697}"/>
          </ac:picMkLst>
        </pc:picChg>
        <pc:picChg chg="mod">
          <ac:chgData name="Aleksandra Szejko" userId="72bb44d8-1e0c-4109-be82-c57a4fb81907" providerId="ADAL" clId="{F148AB52-FD37-46FA-A16C-2F9835D3C0D5}" dt="2025-07-16T11:21:57.195" v="645"/>
          <ac:picMkLst>
            <pc:docMk/>
            <pc:sldMk cId="2487804868" sldId="293"/>
            <ac:picMk id="20" creationId="{0BE5C8E7-2C37-D3AD-60A4-1D6C242681DF}"/>
          </ac:picMkLst>
        </pc:picChg>
        <pc:picChg chg="mod">
          <ac:chgData name="Aleksandra Szejko" userId="72bb44d8-1e0c-4109-be82-c57a4fb81907" providerId="ADAL" clId="{F148AB52-FD37-46FA-A16C-2F9835D3C0D5}" dt="2025-07-16T11:21:57.195" v="645"/>
          <ac:picMkLst>
            <pc:docMk/>
            <pc:sldMk cId="2487804868" sldId="293"/>
            <ac:picMk id="21" creationId="{18F125E3-95C1-55CE-A61F-452F5F998062}"/>
          </ac:picMkLst>
        </pc:picChg>
        <pc:picChg chg="mod">
          <ac:chgData name="Aleksandra Szejko" userId="72bb44d8-1e0c-4109-be82-c57a4fb81907" providerId="ADAL" clId="{F148AB52-FD37-46FA-A16C-2F9835D3C0D5}" dt="2025-07-16T11:22:06.155" v="648"/>
          <ac:picMkLst>
            <pc:docMk/>
            <pc:sldMk cId="2487804868" sldId="293"/>
            <ac:picMk id="23" creationId="{0F673DAE-3E41-C04B-309D-DD0FAE14C1BC}"/>
          </ac:picMkLst>
        </pc:picChg>
        <pc:picChg chg="mod">
          <ac:chgData name="Aleksandra Szejko" userId="72bb44d8-1e0c-4109-be82-c57a4fb81907" providerId="ADAL" clId="{F148AB52-FD37-46FA-A16C-2F9835D3C0D5}" dt="2025-07-16T11:22:06.155" v="648"/>
          <ac:picMkLst>
            <pc:docMk/>
            <pc:sldMk cId="2487804868" sldId="293"/>
            <ac:picMk id="24" creationId="{3F9F2A98-2133-DC51-DDBE-7EA677FB6973}"/>
          </ac:picMkLst>
        </pc:picChg>
        <pc:picChg chg="mod">
          <ac:chgData name="Aleksandra Szejko" userId="72bb44d8-1e0c-4109-be82-c57a4fb81907" providerId="ADAL" clId="{F148AB52-FD37-46FA-A16C-2F9835D3C0D5}" dt="2025-07-16T11:22:17.790" v="650"/>
          <ac:picMkLst>
            <pc:docMk/>
            <pc:sldMk cId="2487804868" sldId="293"/>
            <ac:picMk id="26" creationId="{B89E0651-5837-D2FC-E61C-24BD81D96262}"/>
          </ac:picMkLst>
        </pc:picChg>
        <pc:picChg chg="mod">
          <ac:chgData name="Aleksandra Szejko" userId="72bb44d8-1e0c-4109-be82-c57a4fb81907" providerId="ADAL" clId="{F148AB52-FD37-46FA-A16C-2F9835D3C0D5}" dt="2025-07-16T11:22:17.790" v="650"/>
          <ac:picMkLst>
            <pc:docMk/>
            <pc:sldMk cId="2487804868" sldId="293"/>
            <ac:picMk id="27" creationId="{C0D28617-65E3-D3FD-E67E-EBE7BE77881B}"/>
          </ac:picMkLst>
        </pc:picChg>
        <pc:picChg chg="mod">
          <ac:chgData name="Aleksandra Szejko" userId="72bb44d8-1e0c-4109-be82-c57a4fb81907" providerId="ADAL" clId="{F148AB52-FD37-46FA-A16C-2F9835D3C0D5}" dt="2025-07-16T11:22:17.790" v="650"/>
          <ac:picMkLst>
            <pc:docMk/>
            <pc:sldMk cId="2487804868" sldId="293"/>
            <ac:picMk id="29" creationId="{2B59FD08-C6FE-A0F7-8B53-8EDD846B0206}"/>
          </ac:picMkLst>
        </pc:picChg>
        <pc:picChg chg="mod">
          <ac:chgData name="Aleksandra Szejko" userId="72bb44d8-1e0c-4109-be82-c57a4fb81907" providerId="ADAL" clId="{F148AB52-FD37-46FA-A16C-2F9835D3C0D5}" dt="2025-07-16T11:22:17.790" v="650"/>
          <ac:picMkLst>
            <pc:docMk/>
            <pc:sldMk cId="2487804868" sldId="293"/>
            <ac:picMk id="30" creationId="{BFC51765-4DBF-F6EA-A7B0-EA385CD8A53D}"/>
          </ac:picMkLst>
        </pc:picChg>
        <pc:picChg chg="add mod">
          <ac:chgData name="Aleksandra Szejko" userId="72bb44d8-1e0c-4109-be82-c57a4fb81907" providerId="ADAL" clId="{F148AB52-FD37-46FA-A16C-2F9835D3C0D5}" dt="2025-07-16T11:33:37.803" v="781" actId="1076"/>
          <ac:picMkLst>
            <pc:docMk/>
            <pc:sldMk cId="2487804868" sldId="293"/>
            <ac:picMk id="31" creationId="{9AAAAF7D-FC2B-CA79-399A-C6E4BBCFAB5D}"/>
          </ac:picMkLst>
        </pc:picChg>
        <pc:picChg chg="add mod ord">
          <ac:chgData name="Aleksandra Szejko" userId="72bb44d8-1e0c-4109-be82-c57a4fb81907" providerId="ADAL" clId="{F148AB52-FD37-46FA-A16C-2F9835D3C0D5}" dt="2025-07-16T11:33:37.803" v="781" actId="1076"/>
          <ac:picMkLst>
            <pc:docMk/>
            <pc:sldMk cId="2487804868" sldId="293"/>
            <ac:picMk id="32" creationId="{11CDC26F-AD30-6406-13E2-8F78442F86FD}"/>
          </ac:picMkLst>
        </pc:picChg>
        <pc:picChg chg="add mod">
          <ac:chgData name="Aleksandra Szejko" userId="72bb44d8-1e0c-4109-be82-c57a4fb81907" providerId="ADAL" clId="{F148AB52-FD37-46FA-A16C-2F9835D3C0D5}" dt="2025-07-16T11:33:37.803" v="781" actId="1076"/>
          <ac:picMkLst>
            <pc:docMk/>
            <pc:sldMk cId="2487804868" sldId="293"/>
            <ac:picMk id="33" creationId="{4212D3C0-7F92-5138-9584-A43B91C379AE}"/>
          </ac:picMkLst>
        </pc:picChg>
        <pc:picChg chg="mod">
          <ac:chgData name="Aleksandra Szejko" userId="72bb44d8-1e0c-4109-be82-c57a4fb81907" providerId="ADAL" clId="{F148AB52-FD37-46FA-A16C-2F9835D3C0D5}" dt="2025-07-16T11:23:40.444" v="671"/>
          <ac:picMkLst>
            <pc:docMk/>
            <pc:sldMk cId="2487804868" sldId="293"/>
            <ac:picMk id="36" creationId="{8B49C0DF-7D8E-10FA-C65A-9B0B81AB1611}"/>
          </ac:picMkLst>
        </pc:picChg>
        <pc:picChg chg="mod">
          <ac:chgData name="Aleksandra Szejko" userId="72bb44d8-1e0c-4109-be82-c57a4fb81907" providerId="ADAL" clId="{F148AB52-FD37-46FA-A16C-2F9835D3C0D5}" dt="2025-07-16T11:23:40.444" v="671"/>
          <ac:picMkLst>
            <pc:docMk/>
            <pc:sldMk cId="2487804868" sldId="293"/>
            <ac:picMk id="37" creationId="{608B09DA-DCD5-FA4E-87B5-76E5EAD12827}"/>
          </ac:picMkLst>
        </pc:picChg>
        <pc:picChg chg="add mod">
          <ac:chgData name="Aleksandra Szejko" userId="72bb44d8-1e0c-4109-be82-c57a4fb81907" providerId="ADAL" clId="{F148AB52-FD37-46FA-A16C-2F9835D3C0D5}" dt="2025-07-16T11:33:37.803" v="781" actId="1076"/>
          <ac:picMkLst>
            <pc:docMk/>
            <pc:sldMk cId="2487804868" sldId="293"/>
            <ac:picMk id="38" creationId="{2C0B4AEE-BAD2-3F13-686E-74506F091263}"/>
          </ac:picMkLst>
        </pc:picChg>
        <pc:picChg chg="add mod">
          <ac:chgData name="Aleksandra Szejko" userId="72bb44d8-1e0c-4109-be82-c57a4fb81907" providerId="ADAL" clId="{F148AB52-FD37-46FA-A16C-2F9835D3C0D5}" dt="2025-07-16T11:31:46.112" v="736" actId="164"/>
          <ac:picMkLst>
            <pc:docMk/>
            <pc:sldMk cId="2487804868" sldId="293"/>
            <ac:picMk id="63" creationId="{5E7A9725-F182-B770-4EF9-0574DB28893D}"/>
          </ac:picMkLst>
        </pc:picChg>
        <pc:picChg chg="add mod">
          <ac:chgData name="Aleksandra Szejko" userId="72bb44d8-1e0c-4109-be82-c57a4fb81907" providerId="ADAL" clId="{F148AB52-FD37-46FA-A16C-2F9835D3C0D5}" dt="2025-07-16T11:32:15.594" v="746" actId="207"/>
          <ac:picMkLst>
            <pc:docMk/>
            <pc:sldMk cId="2487804868" sldId="293"/>
            <ac:picMk id="64" creationId="{0D5CCE12-1844-8D19-F164-C6767A8A954F}"/>
          </ac:picMkLst>
        </pc:picChg>
        <pc:picChg chg="add mod">
          <ac:chgData name="Aleksandra Szejko" userId="72bb44d8-1e0c-4109-be82-c57a4fb81907" providerId="ADAL" clId="{F148AB52-FD37-46FA-A16C-2F9835D3C0D5}" dt="2025-07-16T11:32:15.594" v="746" actId="207"/>
          <ac:picMkLst>
            <pc:docMk/>
            <pc:sldMk cId="2487804868" sldId="293"/>
            <ac:picMk id="65" creationId="{0EED8CF1-0039-DEE0-E5EA-E8D52BF8D6D4}"/>
          </ac:picMkLst>
        </pc:picChg>
        <pc:picChg chg="add mod">
          <ac:chgData name="Aleksandra Szejko" userId="72bb44d8-1e0c-4109-be82-c57a4fb81907" providerId="ADAL" clId="{F148AB52-FD37-46FA-A16C-2F9835D3C0D5}" dt="2025-07-16T11:32:19.670" v="748" actId="2084"/>
          <ac:picMkLst>
            <pc:docMk/>
            <pc:sldMk cId="2487804868" sldId="293"/>
            <ac:picMk id="66" creationId="{2773B14E-E1D2-4708-19A9-3CEF42B6BC0A}"/>
          </ac:picMkLst>
        </pc:picChg>
        <pc:picChg chg="add mod">
          <ac:chgData name="Aleksandra Szejko" userId="72bb44d8-1e0c-4109-be82-c57a4fb81907" providerId="ADAL" clId="{F148AB52-FD37-46FA-A16C-2F9835D3C0D5}" dt="2025-07-16T11:32:15.594" v="746" actId="207"/>
          <ac:picMkLst>
            <pc:docMk/>
            <pc:sldMk cId="2487804868" sldId="293"/>
            <ac:picMk id="67" creationId="{EAFC4E1A-5D10-CEF7-F394-24E0D7FADEDF}"/>
          </ac:picMkLst>
        </pc:picChg>
        <pc:picChg chg="add mod">
          <ac:chgData name="Aleksandra Szejko" userId="72bb44d8-1e0c-4109-be82-c57a4fb81907" providerId="ADAL" clId="{F148AB52-FD37-46FA-A16C-2F9835D3C0D5}" dt="2025-07-16T11:32:19.670" v="748" actId="2084"/>
          <ac:picMkLst>
            <pc:docMk/>
            <pc:sldMk cId="2487804868" sldId="293"/>
            <ac:picMk id="68" creationId="{8BFC2824-332E-BC29-A043-D2098B49AD57}"/>
          </ac:picMkLst>
        </pc:picChg>
        <pc:picChg chg="add mod">
          <ac:chgData name="Aleksandra Szejko" userId="72bb44d8-1e0c-4109-be82-c57a4fb81907" providerId="ADAL" clId="{F148AB52-FD37-46FA-A16C-2F9835D3C0D5}" dt="2025-07-16T11:31:46.112" v="736" actId="164"/>
          <ac:picMkLst>
            <pc:docMk/>
            <pc:sldMk cId="2487804868" sldId="293"/>
            <ac:picMk id="69" creationId="{01D74034-1E86-25FD-986C-7DCC69EF87F1}"/>
          </ac:picMkLst>
        </pc:picChg>
        <pc:picChg chg="add mod">
          <ac:chgData name="Aleksandra Szejko" userId="72bb44d8-1e0c-4109-be82-c57a4fb81907" providerId="ADAL" clId="{F148AB52-FD37-46FA-A16C-2F9835D3C0D5}" dt="2025-07-16T11:32:19.670" v="748" actId="2084"/>
          <ac:picMkLst>
            <pc:docMk/>
            <pc:sldMk cId="2487804868" sldId="293"/>
            <ac:picMk id="70" creationId="{F7448EA9-6CB3-5631-8A28-95624C142A02}"/>
          </ac:picMkLst>
        </pc:picChg>
        <pc:picChg chg="add mod">
          <ac:chgData name="Aleksandra Szejko" userId="72bb44d8-1e0c-4109-be82-c57a4fb81907" providerId="ADAL" clId="{F148AB52-FD37-46FA-A16C-2F9835D3C0D5}" dt="2025-07-16T11:32:19.670" v="748" actId="2084"/>
          <ac:picMkLst>
            <pc:docMk/>
            <pc:sldMk cId="2487804868" sldId="293"/>
            <ac:picMk id="71" creationId="{9038899C-7B6E-2CB2-B126-83572C1B2C77}"/>
          </ac:picMkLst>
        </pc:picChg>
        <pc:picChg chg="add mod">
          <ac:chgData name="Aleksandra Szejko" userId="72bb44d8-1e0c-4109-be82-c57a4fb81907" providerId="ADAL" clId="{F148AB52-FD37-46FA-A16C-2F9835D3C0D5}" dt="2025-07-16T11:32:19.670" v="748" actId="2084"/>
          <ac:picMkLst>
            <pc:docMk/>
            <pc:sldMk cId="2487804868" sldId="293"/>
            <ac:picMk id="72" creationId="{35AE146E-2F45-323E-B597-1D40402E3889}"/>
          </ac:picMkLst>
        </pc:picChg>
        <pc:picChg chg="add mod">
          <ac:chgData name="Aleksandra Szejko" userId="72bb44d8-1e0c-4109-be82-c57a4fb81907" providerId="ADAL" clId="{F148AB52-FD37-46FA-A16C-2F9835D3C0D5}" dt="2025-07-16T11:32:15.594" v="746" actId="207"/>
          <ac:picMkLst>
            <pc:docMk/>
            <pc:sldMk cId="2487804868" sldId="293"/>
            <ac:picMk id="74" creationId="{3EADB04E-3CB1-6041-D9F3-B17BDCDFC358}"/>
          </ac:picMkLst>
        </pc:picChg>
        <pc:picChg chg="add del mod">
          <ac:chgData name="Aleksandra Szejko" userId="72bb44d8-1e0c-4109-be82-c57a4fb81907" providerId="ADAL" clId="{F148AB52-FD37-46FA-A16C-2F9835D3C0D5}" dt="2025-07-16T11:31:24.449" v="733" actId="478"/>
          <ac:picMkLst>
            <pc:docMk/>
            <pc:sldMk cId="2487804868" sldId="293"/>
            <ac:picMk id="76" creationId="{9B93E3E1-CF3A-F0CF-E769-DE25E72D3288}"/>
          </ac:picMkLst>
        </pc:picChg>
        <pc:picChg chg="mod">
          <ac:chgData name="Aleksandra Szejko" userId="72bb44d8-1e0c-4109-be82-c57a4fb81907" providerId="ADAL" clId="{F148AB52-FD37-46FA-A16C-2F9835D3C0D5}" dt="2025-07-16T11:32:05.343" v="743"/>
          <ac:picMkLst>
            <pc:docMk/>
            <pc:sldMk cId="2487804868" sldId="293"/>
            <ac:picMk id="80" creationId="{810D95DD-E173-9561-E84F-BBD107D910E4}"/>
          </ac:picMkLst>
        </pc:picChg>
        <pc:picChg chg="mod">
          <ac:chgData name="Aleksandra Szejko" userId="72bb44d8-1e0c-4109-be82-c57a4fb81907" providerId="ADAL" clId="{F148AB52-FD37-46FA-A16C-2F9835D3C0D5}" dt="2025-07-16T11:32:15.594" v="746" actId="207"/>
          <ac:picMkLst>
            <pc:docMk/>
            <pc:sldMk cId="2487804868" sldId="293"/>
            <ac:picMk id="81" creationId="{D6551524-AAB0-9E1E-7E46-A26F5EF30A44}"/>
          </ac:picMkLst>
        </pc:picChg>
        <pc:picChg chg="mod">
          <ac:chgData name="Aleksandra Szejko" userId="72bb44d8-1e0c-4109-be82-c57a4fb81907" providerId="ADAL" clId="{F148AB52-FD37-46FA-A16C-2F9835D3C0D5}" dt="2025-07-16T11:32:19.670" v="748" actId="2084"/>
          <ac:picMkLst>
            <pc:docMk/>
            <pc:sldMk cId="2487804868" sldId="293"/>
            <ac:picMk id="82" creationId="{89D57EE2-F6C0-B09A-3E55-171CA4A88B52}"/>
          </ac:picMkLst>
        </pc:picChg>
        <pc:picChg chg="mod">
          <ac:chgData name="Aleksandra Szejko" userId="72bb44d8-1e0c-4109-be82-c57a4fb81907" providerId="ADAL" clId="{F148AB52-FD37-46FA-A16C-2F9835D3C0D5}" dt="2025-07-16T11:32:19.670" v="748" actId="2084"/>
          <ac:picMkLst>
            <pc:docMk/>
            <pc:sldMk cId="2487804868" sldId="293"/>
            <ac:picMk id="83" creationId="{1294CDE2-29EB-D87D-D6B1-74C64FF66A75}"/>
          </ac:picMkLst>
        </pc:picChg>
        <pc:picChg chg="mod">
          <ac:chgData name="Aleksandra Szejko" userId="72bb44d8-1e0c-4109-be82-c57a4fb81907" providerId="ADAL" clId="{F148AB52-FD37-46FA-A16C-2F9835D3C0D5}" dt="2025-07-16T11:32:19.670" v="748" actId="2084"/>
          <ac:picMkLst>
            <pc:docMk/>
            <pc:sldMk cId="2487804868" sldId="293"/>
            <ac:picMk id="84" creationId="{3B82B083-2212-E6DE-C3F0-44C8D9E56304}"/>
          </ac:picMkLst>
        </pc:picChg>
        <pc:picChg chg="mod">
          <ac:chgData name="Aleksandra Szejko" userId="72bb44d8-1e0c-4109-be82-c57a4fb81907" providerId="ADAL" clId="{F148AB52-FD37-46FA-A16C-2F9835D3C0D5}" dt="2025-07-16T11:32:15.594" v="746" actId="207"/>
          <ac:picMkLst>
            <pc:docMk/>
            <pc:sldMk cId="2487804868" sldId="293"/>
            <ac:picMk id="86" creationId="{F8747118-6710-F64B-8256-C5DD3F96E217}"/>
          </ac:picMkLst>
        </pc:picChg>
        <pc:picChg chg="mod">
          <ac:chgData name="Aleksandra Szejko" userId="72bb44d8-1e0c-4109-be82-c57a4fb81907" providerId="ADAL" clId="{F148AB52-FD37-46FA-A16C-2F9835D3C0D5}" dt="2025-07-16T11:32:15.594" v="746" actId="207"/>
          <ac:picMkLst>
            <pc:docMk/>
            <pc:sldMk cId="2487804868" sldId="293"/>
            <ac:picMk id="87" creationId="{D9427257-0805-F06A-C713-1F6AC5304148}"/>
          </ac:picMkLst>
        </pc:picChg>
        <pc:picChg chg="mod">
          <ac:chgData name="Aleksandra Szejko" userId="72bb44d8-1e0c-4109-be82-c57a4fb81907" providerId="ADAL" clId="{F148AB52-FD37-46FA-A16C-2F9835D3C0D5}" dt="2025-07-16T11:32:19.670" v="748" actId="2084"/>
          <ac:picMkLst>
            <pc:docMk/>
            <pc:sldMk cId="2487804868" sldId="293"/>
            <ac:picMk id="88" creationId="{2DF78D25-0AFF-DC8E-D3DD-F8507660F348}"/>
          </ac:picMkLst>
        </pc:picChg>
        <pc:picChg chg="mod">
          <ac:chgData name="Aleksandra Szejko" userId="72bb44d8-1e0c-4109-be82-c57a4fb81907" providerId="ADAL" clId="{F148AB52-FD37-46FA-A16C-2F9835D3C0D5}" dt="2025-07-16T11:32:05.343" v="743"/>
          <ac:picMkLst>
            <pc:docMk/>
            <pc:sldMk cId="2487804868" sldId="293"/>
            <ac:picMk id="89" creationId="{7A26A2C3-F648-269F-EC80-FD7E29B2C727}"/>
          </ac:picMkLst>
        </pc:picChg>
        <pc:picChg chg="mod">
          <ac:chgData name="Aleksandra Szejko" userId="72bb44d8-1e0c-4109-be82-c57a4fb81907" providerId="ADAL" clId="{F148AB52-FD37-46FA-A16C-2F9835D3C0D5}" dt="2025-07-16T11:32:19.670" v="748" actId="2084"/>
          <ac:picMkLst>
            <pc:docMk/>
            <pc:sldMk cId="2487804868" sldId="293"/>
            <ac:picMk id="90" creationId="{1DBB3226-049C-450E-B257-F61C0CBCE30D}"/>
          </ac:picMkLst>
        </pc:picChg>
        <pc:cxnChg chg="add mod">
          <ac:chgData name="Aleksandra Szejko" userId="72bb44d8-1e0c-4109-be82-c57a4fb81907" providerId="ADAL" clId="{F148AB52-FD37-46FA-A16C-2F9835D3C0D5}" dt="2025-07-16T11:25:08.598" v="689" actId="1076"/>
          <ac:cxnSpMkLst>
            <pc:docMk/>
            <pc:sldMk cId="2487804868" sldId="293"/>
            <ac:cxnSpMk id="40" creationId="{4C7AD44D-35B8-C4D8-D6D0-9C7C0B99F45D}"/>
          </ac:cxnSpMkLst>
        </pc:cxnChg>
        <pc:cxnChg chg="add mod">
          <ac:chgData name="Aleksandra Szejko" userId="72bb44d8-1e0c-4109-be82-c57a4fb81907" providerId="ADAL" clId="{F148AB52-FD37-46FA-A16C-2F9835D3C0D5}" dt="2025-07-16T11:25:06.461" v="688" actId="14100"/>
          <ac:cxnSpMkLst>
            <pc:docMk/>
            <pc:sldMk cId="2487804868" sldId="293"/>
            <ac:cxnSpMk id="43" creationId="{2B10C78D-A800-27AD-9895-E032CC382216}"/>
          </ac:cxnSpMkLst>
        </pc:cxnChg>
        <pc:cxnChg chg="add">
          <ac:chgData name="Aleksandra Szejko" userId="72bb44d8-1e0c-4109-be82-c57a4fb81907" providerId="ADAL" clId="{F148AB52-FD37-46FA-A16C-2F9835D3C0D5}" dt="2025-07-16T11:25:18.666" v="690" actId="11529"/>
          <ac:cxnSpMkLst>
            <pc:docMk/>
            <pc:sldMk cId="2487804868" sldId="293"/>
            <ac:cxnSpMk id="50" creationId="{1F0EF423-F44A-036D-2358-EF236B9A5EE8}"/>
          </ac:cxnSpMkLst>
        </pc:cxnChg>
        <pc:cxnChg chg="add mod">
          <ac:chgData name="Aleksandra Szejko" userId="72bb44d8-1e0c-4109-be82-c57a4fb81907" providerId="ADAL" clId="{F148AB52-FD37-46FA-A16C-2F9835D3C0D5}" dt="2025-07-16T11:25:25.902" v="692" actId="1076"/>
          <ac:cxnSpMkLst>
            <pc:docMk/>
            <pc:sldMk cId="2487804868" sldId="293"/>
            <ac:cxnSpMk id="51" creationId="{2A8A4DDC-8A8F-D321-0A13-DF960526ACC3}"/>
          </ac:cxnSpMkLst>
        </pc:cxnChg>
        <pc:cxnChg chg="add mod">
          <ac:chgData name="Aleksandra Szejko" userId="72bb44d8-1e0c-4109-be82-c57a4fb81907" providerId="ADAL" clId="{F148AB52-FD37-46FA-A16C-2F9835D3C0D5}" dt="2025-07-16T11:25:33.021" v="694" actId="1076"/>
          <ac:cxnSpMkLst>
            <pc:docMk/>
            <pc:sldMk cId="2487804868" sldId="293"/>
            <ac:cxnSpMk id="52" creationId="{F982B9B0-B5B0-BED2-4CBD-12DBB3AC750E}"/>
          </ac:cxnSpMkLst>
        </pc:cxnChg>
        <pc:cxnChg chg="add mod">
          <ac:chgData name="Aleksandra Szejko" userId="72bb44d8-1e0c-4109-be82-c57a4fb81907" providerId="ADAL" clId="{F148AB52-FD37-46FA-A16C-2F9835D3C0D5}" dt="2025-07-16T11:25:40.977" v="697" actId="14100"/>
          <ac:cxnSpMkLst>
            <pc:docMk/>
            <pc:sldMk cId="2487804868" sldId="293"/>
            <ac:cxnSpMk id="53" creationId="{E60225C2-8C4D-EE43-E621-8A7C21FE653F}"/>
          </ac:cxnSpMkLst>
        </pc:cxnChg>
        <pc:cxnChg chg="add mod">
          <ac:chgData name="Aleksandra Szejko" userId="72bb44d8-1e0c-4109-be82-c57a4fb81907" providerId="ADAL" clId="{F148AB52-FD37-46FA-A16C-2F9835D3C0D5}" dt="2025-07-16T11:25:58.580" v="704" actId="14100"/>
          <ac:cxnSpMkLst>
            <pc:docMk/>
            <pc:sldMk cId="2487804868" sldId="293"/>
            <ac:cxnSpMk id="55" creationId="{928A2281-31E2-FDBB-5837-0975C751F17E}"/>
          </ac:cxnSpMkLst>
        </pc:cxnChg>
        <pc:cxnChg chg="add mod">
          <ac:chgData name="Aleksandra Szejko" userId="72bb44d8-1e0c-4109-be82-c57a4fb81907" providerId="ADAL" clId="{F148AB52-FD37-46FA-A16C-2F9835D3C0D5}" dt="2025-07-16T11:26:04.109" v="706" actId="1076"/>
          <ac:cxnSpMkLst>
            <pc:docMk/>
            <pc:sldMk cId="2487804868" sldId="293"/>
            <ac:cxnSpMk id="60" creationId="{56CC0837-303D-62FE-AEED-E4BBF9F23FCE}"/>
          </ac:cxnSpMkLst>
        </pc:cxnChg>
      </pc:sldChg>
      <pc:sldChg chg="addSp delSp modSp mod chgLayout">
        <pc:chgData name="Aleksandra Szejko" userId="72bb44d8-1e0c-4109-be82-c57a4fb81907" providerId="ADAL" clId="{F148AB52-FD37-46FA-A16C-2F9835D3C0D5}" dt="2025-07-16T09:39:13.122" v="162" actId="1076"/>
        <pc:sldMkLst>
          <pc:docMk/>
          <pc:sldMk cId="1208810156" sldId="297"/>
        </pc:sldMkLst>
        <pc:spChg chg="mod ord">
          <ac:chgData name="Aleksandra Szejko" userId="72bb44d8-1e0c-4109-be82-c57a4fb81907" providerId="ADAL" clId="{F148AB52-FD37-46FA-A16C-2F9835D3C0D5}" dt="2025-07-16T09:33:38.075" v="141" actId="790"/>
          <ac:spMkLst>
            <pc:docMk/>
            <pc:sldMk cId="1208810156" sldId="297"/>
            <ac:spMk id="2" creationId="{A90F07C0-86A0-5145-883C-8952E722521B}"/>
          </ac:spMkLst>
        </pc:spChg>
        <pc:spChg chg="del mod ord">
          <ac:chgData name="Aleksandra Szejko" userId="72bb44d8-1e0c-4109-be82-c57a4fb81907" providerId="ADAL" clId="{F148AB52-FD37-46FA-A16C-2F9835D3C0D5}" dt="2025-07-16T09:32:39.114" v="135" actId="478"/>
          <ac:spMkLst>
            <pc:docMk/>
            <pc:sldMk cId="1208810156" sldId="297"/>
            <ac:spMk id="3" creationId="{C8A81771-8456-3148-AF11-51CB823CD6B8}"/>
          </ac:spMkLst>
        </pc:spChg>
        <pc:spChg chg="mod ord">
          <ac:chgData name="Aleksandra Szejko" userId="72bb44d8-1e0c-4109-be82-c57a4fb81907" providerId="ADAL" clId="{F148AB52-FD37-46FA-A16C-2F9835D3C0D5}" dt="2025-07-16T09:39:13.122" v="162" actId="1076"/>
          <ac:spMkLst>
            <pc:docMk/>
            <pc:sldMk cId="1208810156" sldId="297"/>
            <ac:spMk id="4" creationId="{5B0328B5-FFC5-BB4F-BDB7-7E5DD1F8E76F}"/>
          </ac:spMkLst>
        </pc:spChg>
        <pc:spChg chg="add mod">
          <ac:chgData name="Aleksandra Szejko" userId="72bb44d8-1e0c-4109-be82-c57a4fb81907" providerId="ADAL" clId="{F148AB52-FD37-46FA-A16C-2F9835D3C0D5}" dt="2025-07-16T09:33:38.075" v="141" actId="790"/>
          <ac:spMkLst>
            <pc:docMk/>
            <pc:sldMk cId="1208810156" sldId="297"/>
            <ac:spMk id="5" creationId="{2DCC8571-E769-5571-D15A-AE0011BD525E}"/>
          </ac:spMkLst>
        </pc:spChg>
        <pc:spChg chg="add del mod">
          <ac:chgData name="Aleksandra Szejko" userId="72bb44d8-1e0c-4109-be82-c57a4fb81907" providerId="ADAL" clId="{F148AB52-FD37-46FA-A16C-2F9835D3C0D5}" dt="2025-07-16T09:32:41.274" v="136" actId="478"/>
          <ac:spMkLst>
            <pc:docMk/>
            <pc:sldMk cId="1208810156" sldId="297"/>
            <ac:spMk id="7" creationId="{17CC86B8-6FB2-E9BE-93BD-FC2638730460}"/>
          </ac:spMkLst>
        </pc:spChg>
        <pc:picChg chg="del">
          <ac:chgData name="Aleksandra Szejko" userId="72bb44d8-1e0c-4109-be82-c57a4fb81907" providerId="ADAL" clId="{F148AB52-FD37-46FA-A16C-2F9835D3C0D5}" dt="2025-07-16T09:30:56.704" v="87" actId="478"/>
          <ac:picMkLst>
            <pc:docMk/>
            <pc:sldMk cId="1208810156" sldId="297"/>
            <ac:picMk id="6" creationId="{610367C8-1AFB-1147-87B6-189DD671DCBE}"/>
          </ac:picMkLst>
        </pc:picChg>
      </pc:sldChg>
      <pc:sldChg chg="delSp modSp mod">
        <pc:chgData name="Aleksandra Szejko" userId="72bb44d8-1e0c-4109-be82-c57a4fb81907" providerId="ADAL" clId="{F148AB52-FD37-46FA-A16C-2F9835D3C0D5}" dt="2025-07-16T11:41:27.721" v="877" actId="478"/>
        <pc:sldMkLst>
          <pc:docMk/>
          <pc:sldMk cId="2512411763" sldId="299"/>
        </pc:sldMkLst>
        <pc:spChg chg="del mod">
          <ac:chgData name="Aleksandra Szejko" userId="72bb44d8-1e0c-4109-be82-c57a4fb81907" providerId="ADAL" clId="{F148AB52-FD37-46FA-A16C-2F9835D3C0D5}" dt="2025-07-16T11:41:27.721" v="877" actId="478"/>
          <ac:spMkLst>
            <pc:docMk/>
            <pc:sldMk cId="2512411763" sldId="299"/>
            <ac:spMk id="2" creationId="{11D430B8-F378-F4E0-4536-4D7C59609DC6}"/>
          </ac:spMkLst>
        </pc:spChg>
        <pc:spChg chg="mod">
          <ac:chgData name="Aleksandra Szejko" userId="72bb44d8-1e0c-4109-be82-c57a4fb81907" providerId="ADAL" clId="{F148AB52-FD37-46FA-A16C-2F9835D3C0D5}" dt="2025-07-16T09:34:48.548" v="149" actId="14861"/>
          <ac:spMkLst>
            <pc:docMk/>
            <pc:sldMk cId="2512411763" sldId="299"/>
            <ac:spMk id="3" creationId="{81F236A5-2F37-8473-C8F8-D6FA38993F2F}"/>
          </ac:spMkLst>
        </pc:spChg>
        <pc:spChg chg="del mod">
          <ac:chgData name="Aleksandra Szejko" userId="72bb44d8-1e0c-4109-be82-c57a4fb81907" providerId="ADAL" clId="{F148AB52-FD37-46FA-A16C-2F9835D3C0D5}" dt="2025-07-16T11:41:01.297" v="874" actId="478"/>
          <ac:spMkLst>
            <pc:docMk/>
            <pc:sldMk cId="2512411763" sldId="299"/>
            <ac:spMk id="4" creationId="{8F3DBF78-5B75-5B3F-16B1-E56751A8D781}"/>
          </ac:spMkLst>
        </pc:spChg>
        <pc:spChg chg="mod">
          <ac:chgData name="Aleksandra Szejko" userId="72bb44d8-1e0c-4109-be82-c57a4fb81907" providerId="ADAL" clId="{F148AB52-FD37-46FA-A16C-2F9835D3C0D5}" dt="2025-07-16T11:40:53.720" v="873" actId="1582"/>
          <ac:spMkLst>
            <pc:docMk/>
            <pc:sldMk cId="2512411763" sldId="299"/>
            <ac:spMk id="35" creationId="{AA2A3855-03EE-B031-EB94-06BEA9EBA46D}"/>
          </ac:spMkLst>
        </pc:spChg>
        <pc:spChg chg="mod">
          <ac:chgData name="Aleksandra Szejko" userId="72bb44d8-1e0c-4109-be82-c57a4fb81907" providerId="ADAL" clId="{F148AB52-FD37-46FA-A16C-2F9835D3C0D5}" dt="2025-07-16T11:41:25.183" v="876" actId="14100"/>
          <ac:spMkLst>
            <pc:docMk/>
            <pc:sldMk cId="2512411763" sldId="299"/>
            <ac:spMk id="37" creationId="{ED673FF5-5160-7C3A-3EEB-C8FD52E96DAD}"/>
          </ac:spMkLst>
        </pc:spChg>
        <pc:spChg chg="mod">
          <ac:chgData name="Aleksandra Szejko" userId="72bb44d8-1e0c-4109-be82-c57a4fb81907" providerId="ADAL" clId="{F148AB52-FD37-46FA-A16C-2F9835D3C0D5}" dt="2025-07-16T09:34:29.307" v="147" actId="1076"/>
          <ac:spMkLst>
            <pc:docMk/>
            <pc:sldMk cId="2512411763" sldId="299"/>
            <ac:spMk id="38" creationId="{331844EE-D2BD-3FF3-28FF-3949253744A8}"/>
          </ac:spMkLst>
        </pc:spChg>
        <pc:spChg chg="mod">
          <ac:chgData name="Aleksandra Szejko" userId="72bb44d8-1e0c-4109-be82-c57a4fb81907" providerId="ADAL" clId="{F148AB52-FD37-46FA-A16C-2F9835D3C0D5}" dt="2025-07-16T11:39:09.893" v="862" actId="14100"/>
          <ac:spMkLst>
            <pc:docMk/>
            <pc:sldMk cId="2512411763" sldId="299"/>
            <ac:spMk id="39" creationId="{57F5E0AC-6F4D-A04E-8F65-0494FF952431}"/>
          </ac:spMkLst>
        </pc:spChg>
        <pc:spChg chg="mod">
          <ac:chgData name="Aleksandra Szejko" userId="72bb44d8-1e0c-4109-be82-c57a4fb81907" providerId="ADAL" clId="{F148AB52-FD37-46FA-A16C-2F9835D3C0D5}" dt="2025-07-16T11:39:12.354" v="863" actId="14100"/>
          <ac:spMkLst>
            <pc:docMk/>
            <pc:sldMk cId="2512411763" sldId="299"/>
            <ac:spMk id="40" creationId="{B1BE9261-56B6-4BC9-A056-BB7242FCB527}"/>
          </ac:spMkLst>
        </pc:spChg>
        <pc:spChg chg="mod">
          <ac:chgData name="Aleksandra Szejko" userId="72bb44d8-1e0c-4109-be82-c57a4fb81907" providerId="ADAL" clId="{F148AB52-FD37-46FA-A16C-2F9835D3C0D5}" dt="2025-07-16T11:39:04.875" v="861" actId="14100"/>
          <ac:spMkLst>
            <pc:docMk/>
            <pc:sldMk cId="2512411763" sldId="299"/>
            <ac:spMk id="41" creationId="{BC3C759E-CBA7-ED83-D276-FD76723EC2EE}"/>
          </ac:spMkLst>
        </pc:spChg>
        <pc:spChg chg="mod">
          <ac:chgData name="Aleksandra Szejko" userId="72bb44d8-1e0c-4109-be82-c57a4fb81907" providerId="ADAL" clId="{F148AB52-FD37-46FA-A16C-2F9835D3C0D5}" dt="2025-07-16T09:33:38.075" v="141" actId="790"/>
          <ac:spMkLst>
            <pc:docMk/>
            <pc:sldMk cId="2512411763" sldId="299"/>
            <ac:spMk id="42" creationId="{8D64D28F-9C92-4A81-99A1-360D7271A487}"/>
          </ac:spMkLst>
        </pc:spChg>
        <pc:spChg chg="mod">
          <ac:chgData name="Aleksandra Szejko" userId="72bb44d8-1e0c-4109-be82-c57a4fb81907" providerId="ADAL" clId="{F148AB52-FD37-46FA-A16C-2F9835D3C0D5}" dt="2025-07-16T09:33:38.075" v="141" actId="790"/>
          <ac:spMkLst>
            <pc:docMk/>
            <pc:sldMk cId="2512411763" sldId="299"/>
            <ac:spMk id="53" creationId="{FFF33B18-C52A-4C1F-B259-F74F67112E02}"/>
          </ac:spMkLst>
        </pc:spChg>
        <pc:spChg chg="mod">
          <ac:chgData name="Aleksandra Szejko" userId="72bb44d8-1e0c-4109-be82-c57a4fb81907" providerId="ADAL" clId="{F148AB52-FD37-46FA-A16C-2F9835D3C0D5}" dt="2025-07-16T09:33:38.075" v="141" actId="790"/>
          <ac:spMkLst>
            <pc:docMk/>
            <pc:sldMk cId="2512411763" sldId="299"/>
            <ac:spMk id="56" creationId="{D8D92086-DE38-DE54-9834-1A3E9CB552A2}"/>
          </ac:spMkLst>
        </pc:spChg>
        <pc:spChg chg="mod">
          <ac:chgData name="Aleksandra Szejko" userId="72bb44d8-1e0c-4109-be82-c57a4fb81907" providerId="ADAL" clId="{F148AB52-FD37-46FA-A16C-2F9835D3C0D5}" dt="2025-07-16T09:33:38.075" v="141" actId="790"/>
          <ac:spMkLst>
            <pc:docMk/>
            <pc:sldMk cId="2512411763" sldId="299"/>
            <ac:spMk id="59" creationId="{120DE1F8-99A8-A3DC-9109-26E1B5326402}"/>
          </ac:spMkLst>
        </pc:spChg>
        <pc:spChg chg="mod">
          <ac:chgData name="Aleksandra Szejko" userId="72bb44d8-1e0c-4109-be82-c57a4fb81907" providerId="ADAL" clId="{F148AB52-FD37-46FA-A16C-2F9835D3C0D5}" dt="2025-07-16T09:33:38.075" v="141" actId="790"/>
          <ac:spMkLst>
            <pc:docMk/>
            <pc:sldMk cId="2512411763" sldId="299"/>
            <ac:spMk id="61" creationId="{521E05A8-C011-D7C6-0D4D-BFAC820DE194}"/>
          </ac:spMkLst>
        </pc:spChg>
        <pc:spChg chg="mod">
          <ac:chgData name="Aleksandra Szejko" userId="72bb44d8-1e0c-4109-be82-c57a4fb81907" providerId="ADAL" clId="{F148AB52-FD37-46FA-A16C-2F9835D3C0D5}" dt="2025-07-16T09:34:54.399" v="150" actId="14861"/>
          <ac:spMkLst>
            <pc:docMk/>
            <pc:sldMk cId="2512411763" sldId="299"/>
            <ac:spMk id="83" creationId="{B4706D77-B8FD-4125-96C9-7BAB4FC231BC}"/>
          </ac:spMkLst>
        </pc:spChg>
        <pc:cxnChg chg="mod">
          <ac:chgData name="Aleksandra Szejko" userId="72bb44d8-1e0c-4109-be82-c57a4fb81907" providerId="ADAL" clId="{F148AB52-FD37-46FA-A16C-2F9835D3C0D5}" dt="2025-07-16T11:39:57.904" v="868" actId="208"/>
          <ac:cxnSpMkLst>
            <pc:docMk/>
            <pc:sldMk cId="2512411763" sldId="299"/>
            <ac:cxnSpMk id="43" creationId="{CBF62DAD-D6B3-5F35-639D-F98AF3DF480F}"/>
          </ac:cxnSpMkLst>
        </pc:cxnChg>
        <pc:cxnChg chg="mod">
          <ac:chgData name="Aleksandra Szejko" userId="72bb44d8-1e0c-4109-be82-c57a4fb81907" providerId="ADAL" clId="{F148AB52-FD37-46FA-A16C-2F9835D3C0D5}" dt="2025-07-16T11:39:57.904" v="868" actId="208"/>
          <ac:cxnSpMkLst>
            <pc:docMk/>
            <pc:sldMk cId="2512411763" sldId="299"/>
            <ac:cxnSpMk id="44" creationId="{D54EE352-B500-0BCF-ABC6-4CC6B24ADAFF}"/>
          </ac:cxnSpMkLst>
        </pc:cxnChg>
        <pc:cxnChg chg="mod">
          <ac:chgData name="Aleksandra Szejko" userId="72bb44d8-1e0c-4109-be82-c57a4fb81907" providerId="ADAL" clId="{F148AB52-FD37-46FA-A16C-2F9835D3C0D5}" dt="2025-07-16T11:39:57.904" v="868" actId="208"/>
          <ac:cxnSpMkLst>
            <pc:docMk/>
            <pc:sldMk cId="2512411763" sldId="299"/>
            <ac:cxnSpMk id="45" creationId="{243AE796-5521-44A3-89E1-3E3347D6E1CE}"/>
          </ac:cxnSpMkLst>
        </pc:cxnChg>
        <pc:cxnChg chg="mod">
          <ac:chgData name="Aleksandra Szejko" userId="72bb44d8-1e0c-4109-be82-c57a4fb81907" providerId="ADAL" clId="{F148AB52-FD37-46FA-A16C-2F9835D3C0D5}" dt="2025-07-16T11:37:30.076" v="858" actId="208"/>
          <ac:cxnSpMkLst>
            <pc:docMk/>
            <pc:sldMk cId="2512411763" sldId="299"/>
            <ac:cxnSpMk id="51" creationId="{F1F18C12-E086-F841-E30F-20AC08C63E85}"/>
          </ac:cxnSpMkLst>
        </pc:cxnChg>
        <pc:cxnChg chg="mod">
          <ac:chgData name="Aleksandra Szejko" userId="72bb44d8-1e0c-4109-be82-c57a4fb81907" providerId="ADAL" clId="{F148AB52-FD37-46FA-A16C-2F9835D3C0D5}" dt="2025-07-16T11:39:43.248" v="867" actId="208"/>
          <ac:cxnSpMkLst>
            <pc:docMk/>
            <pc:sldMk cId="2512411763" sldId="299"/>
            <ac:cxnSpMk id="60" creationId="{BE456301-FB9D-DEA4-183D-658BA396A9FB}"/>
          </ac:cxnSpMkLst>
        </pc:cxnChg>
        <pc:cxnChg chg="mod">
          <ac:chgData name="Aleksandra Szejko" userId="72bb44d8-1e0c-4109-be82-c57a4fb81907" providerId="ADAL" clId="{F148AB52-FD37-46FA-A16C-2F9835D3C0D5}" dt="2025-07-16T11:37:30.076" v="858" actId="208"/>
          <ac:cxnSpMkLst>
            <pc:docMk/>
            <pc:sldMk cId="2512411763" sldId="299"/>
            <ac:cxnSpMk id="64" creationId="{4414EA7F-33CD-C4F3-23A3-49D495F11D08}"/>
          </ac:cxnSpMkLst>
        </pc:cxnChg>
      </pc:sldChg>
      <pc:sldChg chg="modSp mod">
        <pc:chgData name="Aleksandra Szejko" userId="72bb44d8-1e0c-4109-be82-c57a4fb81907" providerId="ADAL" clId="{F148AB52-FD37-46FA-A16C-2F9835D3C0D5}" dt="2025-07-16T11:13:25.847" v="528" actId="20577"/>
        <pc:sldMkLst>
          <pc:docMk/>
          <pc:sldMk cId="2736849473" sldId="300"/>
        </pc:sldMkLst>
        <pc:spChg chg="mod">
          <ac:chgData name="Aleksandra Szejko" userId="72bb44d8-1e0c-4109-be82-c57a4fb81907" providerId="ADAL" clId="{F148AB52-FD37-46FA-A16C-2F9835D3C0D5}" dt="2025-07-16T09:33:38.075" v="141" actId="790"/>
          <ac:spMkLst>
            <pc:docMk/>
            <pc:sldMk cId="2736849473" sldId="300"/>
            <ac:spMk id="2" creationId="{1DBC4170-1BE0-1B5B-3D1F-D344E217A26E}"/>
          </ac:spMkLst>
        </pc:spChg>
        <pc:spChg chg="mod">
          <ac:chgData name="Aleksandra Szejko" userId="72bb44d8-1e0c-4109-be82-c57a4fb81907" providerId="ADAL" clId="{F148AB52-FD37-46FA-A16C-2F9835D3C0D5}" dt="2025-07-16T11:12:41.485" v="521" actId="20577"/>
          <ac:spMkLst>
            <pc:docMk/>
            <pc:sldMk cId="2736849473" sldId="300"/>
            <ac:spMk id="6" creationId="{5EE910A8-CAB2-D73E-B835-A0C323851BC9}"/>
          </ac:spMkLst>
        </pc:spChg>
        <pc:spChg chg="mod">
          <ac:chgData name="Aleksandra Szejko" userId="72bb44d8-1e0c-4109-be82-c57a4fb81907" providerId="ADAL" clId="{F148AB52-FD37-46FA-A16C-2F9835D3C0D5}" dt="2025-07-16T11:13:25.847" v="528" actId="20577"/>
          <ac:spMkLst>
            <pc:docMk/>
            <pc:sldMk cId="2736849473" sldId="300"/>
            <ac:spMk id="8" creationId="{7E9CDF97-671C-E8B2-47F2-871690727E28}"/>
          </ac:spMkLst>
        </pc:spChg>
      </pc:sldChg>
      <pc:sldChg chg="modSp del mod">
        <pc:chgData name="Aleksandra Szejko" userId="72bb44d8-1e0c-4109-be82-c57a4fb81907" providerId="ADAL" clId="{F148AB52-FD37-46FA-A16C-2F9835D3C0D5}" dt="2025-07-16T11:13:31.349" v="529" actId="47"/>
        <pc:sldMkLst>
          <pc:docMk/>
          <pc:sldMk cId="3769081686" sldId="301"/>
        </pc:sldMkLst>
        <pc:spChg chg="mod">
          <ac:chgData name="Aleksandra Szejko" userId="72bb44d8-1e0c-4109-be82-c57a4fb81907" providerId="ADAL" clId="{F148AB52-FD37-46FA-A16C-2F9835D3C0D5}" dt="2025-07-16T09:33:38.075" v="141" actId="790"/>
          <ac:spMkLst>
            <pc:docMk/>
            <pc:sldMk cId="3769081686" sldId="301"/>
            <ac:spMk id="2" creationId="{4AA74A5F-781A-D436-0F5C-8F7D0F5B3F52}"/>
          </ac:spMkLst>
        </pc:spChg>
        <pc:spChg chg="mod">
          <ac:chgData name="Aleksandra Szejko" userId="72bb44d8-1e0c-4109-be82-c57a4fb81907" providerId="ADAL" clId="{F148AB52-FD37-46FA-A16C-2F9835D3C0D5}" dt="2025-07-16T09:33:38.075" v="141" actId="790"/>
          <ac:spMkLst>
            <pc:docMk/>
            <pc:sldMk cId="3769081686" sldId="301"/>
            <ac:spMk id="6" creationId="{EE1362A3-CB3A-9F6C-8956-270EA7E9D75D}"/>
          </ac:spMkLst>
        </pc:spChg>
        <pc:spChg chg="mod">
          <ac:chgData name="Aleksandra Szejko" userId="72bb44d8-1e0c-4109-be82-c57a4fb81907" providerId="ADAL" clId="{F148AB52-FD37-46FA-A16C-2F9835D3C0D5}" dt="2025-07-16T09:33:38.075" v="141" actId="790"/>
          <ac:spMkLst>
            <pc:docMk/>
            <pc:sldMk cId="3769081686" sldId="301"/>
            <ac:spMk id="7" creationId="{C486AC19-EB2E-725E-5D93-91DFFFE23CF2}"/>
          </ac:spMkLst>
        </pc:spChg>
      </pc:sldChg>
      <pc:sldChg chg="modSp del mod">
        <pc:chgData name="Aleksandra Szejko" userId="72bb44d8-1e0c-4109-be82-c57a4fb81907" providerId="ADAL" clId="{F148AB52-FD37-46FA-A16C-2F9835D3C0D5}" dt="2025-07-16T09:37:02.445" v="157" actId="47"/>
        <pc:sldMkLst>
          <pc:docMk/>
          <pc:sldMk cId="1293412455" sldId="302"/>
        </pc:sldMkLst>
        <pc:spChg chg="mod">
          <ac:chgData name="Aleksandra Szejko" userId="72bb44d8-1e0c-4109-be82-c57a4fb81907" providerId="ADAL" clId="{F148AB52-FD37-46FA-A16C-2F9835D3C0D5}" dt="2025-07-16T09:33:38.075" v="141" actId="790"/>
          <ac:spMkLst>
            <pc:docMk/>
            <pc:sldMk cId="1293412455" sldId="302"/>
            <ac:spMk id="2" creationId="{EA2F68E4-159A-ECD4-69EF-2E2475792A7C}"/>
          </ac:spMkLst>
        </pc:spChg>
        <pc:spChg chg="mod">
          <ac:chgData name="Aleksandra Szejko" userId="72bb44d8-1e0c-4109-be82-c57a4fb81907" providerId="ADAL" clId="{F148AB52-FD37-46FA-A16C-2F9835D3C0D5}" dt="2025-07-16T09:33:38.075" v="141" actId="790"/>
          <ac:spMkLst>
            <pc:docMk/>
            <pc:sldMk cId="1293412455" sldId="302"/>
            <ac:spMk id="3" creationId="{F19CF51F-6F3A-424D-8E68-FA03C40FD792}"/>
          </ac:spMkLst>
        </pc:spChg>
        <pc:spChg chg="mod">
          <ac:chgData name="Aleksandra Szejko" userId="72bb44d8-1e0c-4109-be82-c57a4fb81907" providerId="ADAL" clId="{F148AB52-FD37-46FA-A16C-2F9835D3C0D5}" dt="2025-07-16T09:33:38.075" v="141" actId="790"/>
          <ac:spMkLst>
            <pc:docMk/>
            <pc:sldMk cId="1293412455" sldId="302"/>
            <ac:spMk id="4" creationId="{6B0C596B-DC60-0572-D262-93D00F69548A}"/>
          </ac:spMkLst>
        </pc:spChg>
      </pc:sldChg>
      <pc:sldChg chg="modSp del">
        <pc:chgData name="Aleksandra Szejko" userId="72bb44d8-1e0c-4109-be82-c57a4fb81907" providerId="ADAL" clId="{F148AB52-FD37-46FA-A16C-2F9835D3C0D5}" dt="2025-07-16T08:52:58.537" v="51" actId="47"/>
        <pc:sldMkLst>
          <pc:docMk/>
          <pc:sldMk cId="3908932359" sldId="884"/>
        </pc:sldMkLst>
        <pc:spChg chg="mod">
          <ac:chgData name="Aleksandra Szejko" userId="72bb44d8-1e0c-4109-be82-c57a4fb81907" providerId="ADAL" clId="{F148AB52-FD37-46FA-A16C-2F9835D3C0D5}" dt="2025-07-16T08:45:37.497" v="2" actId="207"/>
          <ac:spMkLst>
            <pc:docMk/>
            <pc:sldMk cId="3908932359" sldId="884"/>
            <ac:spMk id="6" creationId="{DF1C3E42-4C0C-43F3-9DB0-B3ED6929DD63}"/>
          </ac:spMkLst>
        </pc:spChg>
        <pc:spChg chg="mod">
          <ac:chgData name="Aleksandra Szejko" userId="72bb44d8-1e0c-4109-be82-c57a4fb81907" providerId="ADAL" clId="{F148AB52-FD37-46FA-A16C-2F9835D3C0D5}" dt="2025-07-16T08:48:59.048" v="27" actId="1076"/>
          <ac:spMkLst>
            <pc:docMk/>
            <pc:sldMk cId="3908932359" sldId="884"/>
            <ac:spMk id="9" creationId="{0FE1A96F-17BC-C769-728A-7F3DBFA597C5}"/>
          </ac:spMkLst>
        </pc:spChg>
      </pc:sldChg>
      <pc:sldChg chg="addSp delSp modSp mod chgLayout">
        <pc:chgData name="Aleksandra Szejko" userId="72bb44d8-1e0c-4109-be82-c57a4fb81907" providerId="ADAL" clId="{F148AB52-FD37-46FA-A16C-2F9835D3C0D5}" dt="2025-07-16T11:18:29.851" v="573" actId="1076"/>
        <pc:sldMkLst>
          <pc:docMk/>
          <pc:sldMk cId="1594945209" sldId="885"/>
        </pc:sldMkLst>
        <pc:spChg chg="add mod">
          <ac:chgData name="Aleksandra Szejko" userId="72bb44d8-1e0c-4109-be82-c57a4fb81907" providerId="ADAL" clId="{F148AB52-FD37-46FA-A16C-2F9835D3C0D5}" dt="2025-07-16T09:33:38.075" v="141" actId="790"/>
          <ac:spMkLst>
            <pc:docMk/>
            <pc:sldMk cId="1594945209" sldId="885"/>
            <ac:spMk id="2" creationId="{D9E1BA7A-342A-D134-2F8B-E54472EACA57}"/>
          </ac:spMkLst>
        </pc:spChg>
        <pc:spChg chg="mod ord">
          <ac:chgData name="Aleksandra Szejko" userId="72bb44d8-1e0c-4109-be82-c57a4fb81907" providerId="ADAL" clId="{F148AB52-FD37-46FA-A16C-2F9835D3C0D5}" dt="2025-07-16T09:33:38.075" v="141" actId="790"/>
          <ac:spMkLst>
            <pc:docMk/>
            <pc:sldMk cId="1594945209" sldId="885"/>
            <ac:spMk id="3" creationId="{66FBEEBE-7E4F-524A-8687-B7AECA7C4075}"/>
          </ac:spMkLst>
        </pc:spChg>
        <pc:spChg chg="add del mod">
          <ac:chgData name="Aleksandra Szejko" userId="72bb44d8-1e0c-4109-be82-c57a4fb81907" providerId="ADAL" clId="{F148AB52-FD37-46FA-A16C-2F9835D3C0D5}" dt="2025-07-16T09:32:10.544" v="96" actId="478"/>
          <ac:spMkLst>
            <pc:docMk/>
            <pc:sldMk cId="1594945209" sldId="885"/>
            <ac:spMk id="4" creationId="{174C9D4F-8779-F4D1-443D-8B0C126CBFB6}"/>
          </ac:spMkLst>
        </pc:spChg>
        <pc:spChg chg="mod ord">
          <ac:chgData name="Aleksandra Szejko" userId="72bb44d8-1e0c-4109-be82-c57a4fb81907" providerId="ADAL" clId="{F148AB52-FD37-46FA-A16C-2F9835D3C0D5}" dt="2025-07-16T11:18:29.851" v="573" actId="1076"/>
          <ac:spMkLst>
            <pc:docMk/>
            <pc:sldMk cId="1594945209" sldId="885"/>
            <ac:spMk id="5" creationId="{EE1CE88A-CAA8-A545-BD71-2F22541931F4}"/>
          </ac:spMkLst>
        </pc:spChg>
        <pc:spChg chg="del mod ord">
          <ac:chgData name="Aleksandra Szejko" userId="72bb44d8-1e0c-4109-be82-c57a4fb81907" providerId="ADAL" clId="{F148AB52-FD37-46FA-A16C-2F9835D3C0D5}" dt="2025-07-16T09:32:08.835" v="95" actId="478"/>
          <ac:spMkLst>
            <pc:docMk/>
            <pc:sldMk cId="1594945209" sldId="885"/>
            <ac:spMk id="6" creationId="{DF1C3E42-4C0C-43F3-9DB0-B3ED6929DD63}"/>
          </ac:spMkLst>
        </pc:spChg>
      </pc:sldChg>
      <pc:sldChg chg="modSp add mod setBg">
        <pc:chgData name="Aleksandra Szejko" userId="72bb44d8-1e0c-4109-be82-c57a4fb81907" providerId="ADAL" clId="{F148AB52-FD37-46FA-A16C-2F9835D3C0D5}" dt="2025-07-16T09:33:38.075" v="141" actId="790"/>
        <pc:sldMkLst>
          <pc:docMk/>
          <pc:sldMk cId="1988924317" sldId="10247"/>
        </pc:sldMkLst>
        <pc:spChg chg="mod">
          <ac:chgData name="Aleksandra Szejko" userId="72bb44d8-1e0c-4109-be82-c57a4fb81907" providerId="ADAL" clId="{F148AB52-FD37-46FA-A16C-2F9835D3C0D5}" dt="2025-07-16T09:33:38.075" v="141" actId="790"/>
          <ac:spMkLst>
            <pc:docMk/>
            <pc:sldMk cId="1988924317" sldId="10247"/>
            <ac:spMk id="2" creationId="{AF7E312C-517D-9247-AEAC-C0CDB6F203EA}"/>
          </ac:spMkLst>
        </pc:spChg>
        <pc:spChg chg="mod">
          <ac:chgData name="Aleksandra Szejko" userId="72bb44d8-1e0c-4109-be82-c57a4fb81907" providerId="ADAL" clId="{F148AB52-FD37-46FA-A16C-2F9835D3C0D5}" dt="2025-07-16T09:33:38.075" v="141" actId="790"/>
          <ac:spMkLst>
            <pc:docMk/>
            <pc:sldMk cId="1988924317" sldId="10247"/>
            <ac:spMk id="15" creationId="{6F49E8F3-04D6-C20C-2803-BDD90F44D731}"/>
          </ac:spMkLst>
        </pc:spChg>
        <pc:spChg chg="mod">
          <ac:chgData name="Aleksandra Szejko" userId="72bb44d8-1e0c-4109-be82-c57a4fb81907" providerId="ADAL" clId="{F148AB52-FD37-46FA-A16C-2F9835D3C0D5}" dt="2025-07-16T09:33:38.075" v="141" actId="790"/>
          <ac:spMkLst>
            <pc:docMk/>
            <pc:sldMk cId="1988924317" sldId="10247"/>
            <ac:spMk id="17" creationId="{B23FA900-C945-6A57-CE74-4FF657C79DFA}"/>
          </ac:spMkLst>
        </pc:spChg>
        <pc:spChg chg="mod">
          <ac:chgData name="Aleksandra Szejko" userId="72bb44d8-1e0c-4109-be82-c57a4fb81907" providerId="ADAL" clId="{F148AB52-FD37-46FA-A16C-2F9835D3C0D5}" dt="2025-07-16T09:33:38.075" v="141" actId="790"/>
          <ac:spMkLst>
            <pc:docMk/>
            <pc:sldMk cId="1988924317" sldId="10247"/>
            <ac:spMk id="18" creationId="{845B22E4-2F6B-7DAD-295E-CAFBD0323647}"/>
          </ac:spMkLst>
        </pc:spChg>
        <pc:spChg chg="mod">
          <ac:chgData name="Aleksandra Szejko" userId="72bb44d8-1e0c-4109-be82-c57a4fb81907" providerId="ADAL" clId="{F148AB52-FD37-46FA-A16C-2F9835D3C0D5}" dt="2025-07-16T09:33:38.075" v="141" actId="790"/>
          <ac:spMkLst>
            <pc:docMk/>
            <pc:sldMk cId="1988924317" sldId="10247"/>
            <ac:spMk id="27" creationId="{C28041B5-E8E9-DC2D-730A-197AF9F1C88A}"/>
          </ac:spMkLst>
        </pc:spChg>
        <pc:spChg chg="mod">
          <ac:chgData name="Aleksandra Szejko" userId="72bb44d8-1e0c-4109-be82-c57a4fb81907" providerId="ADAL" clId="{F148AB52-FD37-46FA-A16C-2F9835D3C0D5}" dt="2025-07-16T09:33:38.075" v="141" actId="790"/>
          <ac:spMkLst>
            <pc:docMk/>
            <pc:sldMk cId="1988924317" sldId="10247"/>
            <ac:spMk id="29" creationId="{E7543356-B79E-B674-4680-56F745388CCF}"/>
          </ac:spMkLst>
        </pc:spChg>
        <pc:spChg chg="mod">
          <ac:chgData name="Aleksandra Szejko" userId="72bb44d8-1e0c-4109-be82-c57a4fb81907" providerId="ADAL" clId="{F148AB52-FD37-46FA-A16C-2F9835D3C0D5}" dt="2025-07-16T09:33:38.075" v="141" actId="790"/>
          <ac:spMkLst>
            <pc:docMk/>
            <pc:sldMk cId="1988924317" sldId="10247"/>
            <ac:spMk id="30" creationId="{A18C2996-7237-C33D-8B47-AA4CD152C2AB}"/>
          </ac:spMkLst>
        </pc:spChg>
        <pc:spChg chg="mod">
          <ac:chgData name="Aleksandra Szejko" userId="72bb44d8-1e0c-4109-be82-c57a4fb81907" providerId="ADAL" clId="{F148AB52-FD37-46FA-A16C-2F9835D3C0D5}" dt="2025-07-16T09:33:38.075" v="141" actId="790"/>
          <ac:spMkLst>
            <pc:docMk/>
            <pc:sldMk cId="1988924317" sldId="10247"/>
            <ac:spMk id="31" creationId="{0B7187E9-5CAF-C7B6-AFEF-CA1B73469A07}"/>
          </ac:spMkLst>
        </pc:spChg>
        <pc:spChg chg="mod">
          <ac:chgData name="Aleksandra Szejko" userId="72bb44d8-1e0c-4109-be82-c57a4fb81907" providerId="ADAL" clId="{F148AB52-FD37-46FA-A16C-2F9835D3C0D5}" dt="2025-07-16T09:33:38.075" v="141" actId="790"/>
          <ac:spMkLst>
            <pc:docMk/>
            <pc:sldMk cId="1988924317" sldId="10247"/>
            <ac:spMk id="34" creationId="{FD17CE86-6922-839E-BBE0-254BE951F73D}"/>
          </ac:spMkLst>
        </pc:spChg>
        <pc:spChg chg="mod">
          <ac:chgData name="Aleksandra Szejko" userId="72bb44d8-1e0c-4109-be82-c57a4fb81907" providerId="ADAL" clId="{F148AB52-FD37-46FA-A16C-2F9835D3C0D5}" dt="2025-07-16T09:33:38.075" v="141" actId="790"/>
          <ac:spMkLst>
            <pc:docMk/>
            <pc:sldMk cId="1988924317" sldId="10247"/>
            <ac:spMk id="36" creationId="{90C50259-CB36-2B10-B61A-22E93EB9CB44}"/>
          </ac:spMkLst>
        </pc:spChg>
      </pc:sldChg>
      <pc:sldChg chg="modSp del">
        <pc:chgData name="Aleksandra Szejko" userId="72bb44d8-1e0c-4109-be82-c57a4fb81907" providerId="ADAL" clId="{F148AB52-FD37-46FA-A16C-2F9835D3C0D5}" dt="2025-07-16T08:52:58.537" v="51" actId="47"/>
        <pc:sldMkLst>
          <pc:docMk/>
          <pc:sldMk cId="2094241430" sldId="2147474785"/>
        </pc:sldMkLst>
        <pc:spChg chg="mod">
          <ac:chgData name="Aleksandra Szejko" userId="72bb44d8-1e0c-4109-be82-c57a4fb81907" providerId="ADAL" clId="{F148AB52-FD37-46FA-A16C-2F9835D3C0D5}" dt="2025-07-16T08:45:48.236" v="3" actId="207"/>
          <ac:spMkLst>
            <pc:docMk/>
            <pc:sldMk cId="2094241430" sldId="2147474785"/>
            <ac:spMk id="6" creationId="{DF1C3E42-4C0C-43F3-9DB0-B3ED6929DD63}"/>
          </ac:spMkLst>
        </pc:spChg>
      </pc:sldChg>
      <pc:sldChg chg="addSp delSp modSp mod">
        <pc:chgData name="Aleksandra Szejko" userId="72bb44d8-1e0c-4109-be82-c57a4fb81907" providerId="ADAL" clId="{F148AB52-FD37-46FA-A16C-2F9835D3C0D5}" dt="2025-07-16T11:19:38.070" v="618" actId="478"/>
        <pc:sldMkLst>
          <pc:docMk/>
          <pc:sldMk cId="3071733730" sldId="2147474786"/>
        </pc:sldMkLst>
        <pc:spChg chg="del mod">
          <ac:chgData name="Aleksandra Szejko" userId="72bb44d8-1e0c-4109-be82-c57a4fb81907" providerId="ADAL" clId="{F148AB52-FD37-46FA-A16C-2F9835D3C0D5}" dt="2025-07-16T11:14:05.754" v="531" actId="478"/>
          <ac:spMkLst>
            <pc:docMk/>
            <pc:sldMk cId="3071733730" sldId="2147474786"/>
            <ac:spMk id="2" creationId="{C8DF9332-37EC-A85C-7B2A-1B511DF07D0A}"/>
          </ac:spMkLst>
        </pc:spChg>
        <pc:spChg chg="mod">
          <ac:chgData name="Aleksandra Szejko" userId="72bb44d8-1e0c-4109-be82-c57a4fb81907" providerId="ADAL" clId="{F148AB52-FD37-46FA-A16C-2F9835D3C0D5}" dt="2025-07-16T11:14:15.050" v="534" actId="20577"/>
          <ac:spMkLst>
            <pc:docMk/>
            <pc:sldMk cId="3071733730" sldId="2147474786"/>
            <ac:spMk id="3" creationId="{6E5E8ACA-5261-0F76-9FD5-DCC83965AAB9}"/>
          </ac:spMkLst>
        </pc:spChg>
        <pc:spChg chg="del mod">
          <ac:chgData name="Aleksandra Szejko" userId="72bb44d8-1e0c-4109-be82-c57a4fb81907" providerId="ADAL" clId="{F148AB52-FD37-46FA-A16C-2F9835D3C0D5}" dt="2025-07-16T11:14:04.321" v="530" actId="478"/>
          <ac:spMkLst>
            <pc:docMk/>
            <pc:sldMk cId="3071733730" sldId="2147474786"/>
            <ac:spMk id="4" creationId="{A210CBA9-387D-3264-8ED3-A1795A4CE8E3}"/>
          </ac:spMkLst>
        </pc:spChg>
        <pc:spChg chg="add del mod ord">
          <ac:chgData name="Aleksandra Szejko" userId="72bb44d8-1e0c-4109-be82-c57a4fb81907" providerId="ADAL" clId="{F148AB52-FD37-46FA-A16C-2F9835D3C0D5}" dt="2025-07-16T11:19:38.070" v="618" actId="478"/>
          <ac:spMkLst>
            <pc:docMk/>
            <pc:sldMk cId="3071733730" sldId="2147474786"/>
            <ac:spMk id="5" creationId="{F1E01822-74E0-3DF3-3438-E3B006FFBD8D}"/>
          </ac:spMkLst>
        </pc:spChg>
        <pc:spChg chg="mod">
          <ac:chgData name="Aleksandra Szejko" userId="72bb44d8-1e0c-4109-be82-c57a4fb81907" providerId="ADAL" clId="{F148AB52-FD37-46FA-A16C-2F9835D3C0D5}" dt="2025-07-16T11:14:10.750" v="532" actId="1076"/>
          <ac:spMkLst>
            <pc:docMk/>
            <pc:sldMk cId="3071733730" sldId="2147474786"/>
            <ac:spMk id="10" creationId="{67C882B7-CABC-FBCF-12DF-A4B4966DD262}"/>
          </ac:spMkLst>
        </pc:spChg>
        <pc:spChg chg="mod">
          <ac:chgData name="Aleksandra Szejko" userId="72bb44d8-1e0c-4109-be82-c57a4fb81907" providerId="ADAL" clId="{F148AB52-FD37-46FA-A16C-2F9835D3C0D5}" dt="2025-07-16T11:14:10.750" v="532" actId="1076"/>
          <ac:spMkLst>
            <pc:docMk/>
            <pc:sldMk cId="3071733730" sldId="2147474786"/>
            <ac:spMk id="11" creationId="{006CC7CA-1B51-A741-30E4-B4BDF16F32C9}"/>
          </ac:spMkLst>
        </pc:spChg>
        <pc:spChg chg="mod">
          <ac:chgData name="Aleksandra Szejko" userId="72bb44d8-1e0c-4109-be82-c57a4fb81907" providerId="ADAL" clId="{F148AB52-FD37-46FA-A16C-2F9835D3C0D5}" dt="2025-07-16T11:14:10.750" v="532" actId="1076"/>
          <ac:spMkLst>
            <pc:docMk/>
            <pc:sldMk cId="3071733730" sldId="2147474786"/>
            <ac:spMk id="16" creationId="{D83D17AF-4AA1-BF21-669E-684EA4481999}"/>
          </ac:spMkLst>
        </pc:spChg>
        <pc:spChg chg="mod">
          <ac:chgData name="Aleksandra Szejko" userId="72bb44d8-1e0c-4109-be82-c57a4fb81907" providerId="ADAL" clId="{F148AB52-FD37-46FA-A16C-2F9835D3C0D5}" dt="2025-07-16T11:14:10.750" v="532" actId="1076"/>
          <ac:spMkLst>
            <pc:docMk/>
            <pc:sldMk cId="3071733730" sldId="2147474786"/>
            <ac:spMk id="18" creationId="{A26ABB2E-BEDA-340E-8C11-4F6E6F4486ED}"/>
          </ac:spMkLst>
        </pc:spChg>
        <pc:picChg chg="mod">
          <ac:chgData name="Aleksandra Szejko" userId="72bb44d8-1e0c-4109-be82-c57a4fb81907" providerId="ADAL" clId="{F148AB52-FD37-46FA-A16C-2F9835D3C0D5}" dt="2025-07-16T11:14:10.750" v="532" actId="1076"/>
          <ac:picMkLst>
            <pc:docMk/>
            <pc:sldMk cId="3071733730" sldId="2147474786"/>
            <ac:picMk id="12" creationId="{0929647E-E61A-F113-D2AF-834C4CE090F5}"/>
          </ac:picMkLst>
        </pc:picChg>
        <pc:picChg chg="mod">
          <ac:chgData name="Aleksandra Szejko" userId="72bb44d8-1e0c-4109-be82-c57a4fb81907" providerId="ADAL" clId="{F148AB52-FD37-46FA-A16C-2F9835D3C0D5}" dt="2025-07-16T11:14:10.750" v="532" actId="1076"/>
          <ac:picMkLst>
            <pc:docMk/>
            <pc:sldMk cId="3071733730" sldId="2147474786"/>
            <ac:picMk id="13" creationId="{EF12CE0F-84B1-C310-1A7C-FC011E8CD468}"/>
          </ac:picMkLst>
        </pc:picChg>
      </pc:sldChg>
      <pc:sldChg chg="addSp modSp add mod">
        <pc:chgData name="Aleksandra Szejko" userId="72bb44d8-1e0c-4109-be82-c57a4fb81907" providerId="ADAL" clId="{F148AB52-FD37-46FA-A16C-2F9835D3C0D5}" dt="2025-07-16T09:36:36.111" v="155" actId="948"/>
        <pc:sldMkLst>
          <pc:docMk/>
          <pc:sldMk cId="3725007298" sldId="2147474787"/>
        </pc:sldMkLst>
        <pc:spChg chg="mod">
          <ac:chgData name="Aleksandra Szejko" userId="72bb44d8-1e0c-4109-be82-c57a4fb81907" providerId="ADAL" clId="{F148AB52-FD37-46FA-A16C-2F9835D3C0D5}" dt="2025-07-16T08:52:55.002" v="50"/>
          <ac:spMkLst>
            <pc:docMk/>
            <pc:sldMk cId="3725007298" sldId="2147474787"/>
            <ac:spMk id="3" creationId="{9E8A5379-958A-39BA-1349-DD96324A2D58}"/>
          </ac:spMkLst>
        </pc:spChg>
        <pc:spChg chg="mod">
          <ac:chgData name="Aleksandra Szejko" userId="72bb44d8-1e0c-4109-be82-c57a4fb81907" providerId="ADAL" clId="{F148AB52-FD37-46FA-A16C-2F9835D3C0D5}" dt="2025-07-16T09:33:38.075" v="141" actId="790"/>
          <ac:spMkLst>
            <pc:docMk/>
            <pc:sldMk cId="3725007298" sldId="2147474787"/>
            <ac:spMk id="4" creationId="{F95B3E67-3FF1-C82A-CB7E-1158E3DBC74F}"/>
          </ac:spMkLst>
        </pc:spChg>
        <pc:spChg chg="mod">
          <ac:chgData name="Aleksandra Szejko" userId="72bb44d8-1e0c-4109-be82-c57a4fb81907" providerId="ADAL" clId="{F148AB52-FD37-46FA-A16C-2F9835D3C0D5}" dt="2025-07-16T08:48:56.427" v="26" actId="20577"/>
          <ac:spMkLst>
            <pc:docMk/>
            <pc:sldMk cId="3725007298" sldId="2147474787"/>
            <ac:spMk id="6" creationId="{DCEEDC42-F150-26D7-6FA1-B8AF0A7BF546}"/>
          </ac:spMkLst>
        </pc:spChg>
        <pc:spChg chg="add mod">
          <ac:chgData name="Aleksandra Szejko" userId="72bb44d8-1e0c-4109-be82-c57a4fb81907" providerId="ADAL" clId="{F148AB52-FD37-46FA-A16C-2F9835D3C0D5}" dt="2025-07-16T09:33:38.075" v="141" actId="790"/>
          <ac:spMkLst>
            <pc:docMk/>
            <pc:sldMk cId="3725007298" sldId="2147474787"/>
            <ac:spMk id="7" creationId="{B09E0CE8-4DD3-B6FE-287E-717BAFEDC451}"/>
          </ac:spMkLst>
        </pc:spChg>
        <pc:spChg chg="add mod">
          <ac:chgData name="Aleksandra Szejko" userId="72bb44d8-1e0c-4109-be82-c57a4fb81907" providerId="ADAL" clId="{F148AB52-FD37-46FA-A16C-2F9835D3C0D5}" dt="2025-07-16T09:25:53.691" v="63" actId="1076"/>
          <ac:spMkLst>
            <pc:docMk/>
            <pc:sldMk cId="3725007298" sldId="2147474787"/>
            <ac:spMk id="8" creationId="{D78B0148-777D-B35E-50C3-ADFA4292547A}"/>
          </ac:spMkLst>
        </pc:spChg>
        <pc:spChg chg="add mod">
          <ac:chgData name="Aleksandra Szejko" userId="72bb44d8-1e0c-4109-be82-c57a4fb81907" providerId="ADAL" clId="{F148AB52-FD37-46FA-A16C-2F9835D3C0D5}" dt="2025-07-16T09:36:36.111" v="155" actId="948"/>
          <ac:spMkLst>
            <pc:docMk/>
            <pc:sldMk cId="3725007298" sldId="2147474787"/>
            <ac:spMk id="9" creationId="{F1E82058-408A-6945-358E-0642D63D0086}"/>
          </ac:spMkLst>
        </pc:spChg>
        <pc:spChg chg="mod">
          <ac:chgData name="Aleksandra Szejko" userId="72bb44d8-1e0c-4109-be82-c57a4fb81907" providerId="ADAL" clId="{F148AB52-FD37-46FA-A16C-2F9835D3C0D5}" dt="2025-07-16T09:33:38.075" v="141" actId="790"/>
          <ac:spMkLst>
            <pc:docMk/>
            <pc:sldMk cId="3725007298" sldId="2147474787"/>
            <ac:spMk id="10" creationId="{991E98F6-2D7C-099C-8D12-86DE85B9EACB}"/>
          </ac:spMkLst>
        </pc:spChg>
        <pc:spChg chg="add mod">
          <ac:chgData name="Aleksandra Szejko" userId="72bb44d8-1e0c-4109-be82-c57a4fb81907" providerId="ADAL" clId="{F148AB52-FD37-46FA-A16C-2F9835D3C0D5}" dt="2025-07-16T09:27:56.437" v="73" actId="1038"/>
          <ac:spMkLst>
            <pc:docMk/>
            <pc:sldMk cId="3725007298" sldId="2147474787"/>
            <ac:spMk id="11" creationId="{CDD1AA5A-30F9-2C6C-A9B6-4A1EE5A730BB}"/>
          </ac:spMkLst>
        </pc:spChg>
        <pc:spChg chg="add mod">
          <ac:chgData name="Aleksandra Szejko" userId="72bb44d8-1e0c-4109-be82-c57a4fb81907" providerId="ADAL" clId="{F148AB52-FD37-46FA-A16C-2F9835D3C0D5}" dt="2025-07-16T09:33:38.075" v="141" actId="790"/>
          <ac:spMkLst>
            <pc:docMk/>
            <pc:sldMk cId="3725007298" sldId="2147474787"/>
            <ac:spMk id="12" creationId="{708C7C4E-919B-3EBB-C679-277876B61447}"/>
          </ac:spMkLst>
        </pc:spChg>
        <pc:spChg chg="mod">
          <ac:chgData name="Aleksandra Szejko" userId="72bb44d8-1e0c-4109-be82-c57a4fb81907" providerId="ADAL" clId="{F148AB52-FD37-46FA-A16C-2F9835D3C0D5}" dt="2025-07-16T08:49:20.055" v="30"/>
          <ac:spMkLst>
            <pc:docMk/>
            <pc:sldMk cId="3725007298" sldId="2147474787"/>
            <ac:spMk id="14" creationId="{CE613B77-7887-E3B1-4EB2-DD20D821DEDD}"/>
          </ac:spMkLst>
        </pc:spChg>
        <pc:spChg chg="mod">
          <ac:chgData name="Aleksandra Szejko" userId="72bb44d8-1e0c-4109-be82-c57a4fb81907" providerId="ADAL" clId="{F148AB52-FD37-46FA-A16C-2F9835D3C0D5}" dt="2025-07-16T09:33:38.075" v="141" actId="790"/>
          <ac:spMkLst>
            <pc:docMk/>
            <pc:sldMk cId="3725007298" sldId="2147474787"/>
            <ac:spMk id="15" creationId="{75D5CF92-5719-BB92-20FA-C8E4814FA21E}"/>
          </ac:spMkLst>
        </pc:spChg>
        <pc:spChg chg="mod">
          <ac:chgData name="Aleksandra Szejko" userId="72bb44d8-1e0c-4109-be82-c57a4fb81907" providerId="ADAL" clId="{F148AB52-FD37-46FA-A16C-2F9835D3C0D5}" dt="2025-07-16T09:33:38.075" v="141" actId="790"/>
          <ac:spMkLst>
            <pc:docMk/>
            <pc:sldMk cId="3725007298" sldId="2147474787"/>
            <ac:spMk id="17" creationId="{D5068B75-BC10-DE8F-1472-9E49E8468619}"/>
          </ac:spMkLst>
        </pc:spChg>
        <pc:spChg chg="mod">
          <ac:chgData name="Aleksandra Szejko" userId="72bb44d8-1e0c-4109-be82-c57a4fb81907" providerId="ADAL" clId="{F148AB52-FD37-46FA-A16C-2F9835D3C0D5}" dt="2025-07-16T08:49:49.631" v="33" actId="1076"/>
          <ac:spMkLst>
            <pc:docMk/>
            <pc:sldMk cId="3725007298" sldId="2147474787"/>
            <ac:spMk id="18" creationId="{536DA3FF-A607-DCFC-B8A1-DED73C9F7376}"/>
          </ac:spMkLst>
        </pc:spChg>
        <pc:spChg chg="mod">
          <ac:chgData name="Aleksandra Szejko" userId="72bb44d8-1e0c-4109-be82-c57a4fb81907" providerId="ADAL" clId="{F148AB52-FD37-46FA-A16C-2F9835D3C0D5}" dt="2025-07-16T09:33:38.075" v="141" actId="790"/>
          <ac:spMkLst>
            <pc:docMk/>
            <pc:sldMk cId="3725007298" sldId="2147474787"/>
            <ac:spMk id="19" creationId="{7E7F30AD-B293-4D22-2E16-84D2CAA2B510}"/>
          </ac:spMkLst>
        </pc:spChg>
        <pc:spChg chg="mod">
          <ac:chgData name="Aleksandra Szejko" userId="72bb44d8-1e0c-4109-be82-c57a4fb81907" providerId="ADAL" clId="{F148AB52-FD37-46FA-A16C-2F9835D3C0D5}" dt="2025-07-16T08:49:52.593" v="34" actId="14100"/>
          <ac:spMkLst>
            <pc:docMk/>
            <pc:sldMk cId="3725007298" sldId="2147474787"/>
            <ac:spMk id="21" creationId="{D30BECC8-CD4D-A015-A931-D77ABFA98B5D}"/>
          </ac:spMkLst>
        </pc:spChg>
        <pc:spChg chg="mod">
          <ac:chgData name="Aleksandra Szejko" userId="72bb44d8-1e0c-4109-be82-c57a4fb81907" providerId="ADAL" clId="{F148AB52-FD37-46FA-A16C-2F9835D3C0D5}" dt="2025-07-16T09:27:52.274" v="71" actId="1036"/>
          <ac:spMkLst>
            <pc:docMk/>
            <pc:sldMk cId="3725007298" sldId="2147474787"/>
            <ac:spMk id="25" creationId="{82BD5BC9-EBB5-88F8-0DA7-22A33D1B8AB8}"/>
          </ac:spMkLst>
        </pc:spChg>
        <pc:spChg chg="mod">
          <ac:chgData name="Aleksandra Szejko" userId="72bb44d8-1e0c-4109-be82-c57a4fb81907" providerId="ADAL" clId="{F148AB52-FD37-46FA-A16C-2F9835D3C0D5}" dt="2025-07-16T09:33:38.075" v="141" actId="790"/>
          <ac:spMkLst>
            <pc:docMk/>
            <pc:sldMk cId="3725007298" sldId="2147474787"/>
            <ac:spMk id="27" creationId="{6098D7D8-7E0F-47C1-1FDF-613F7D3951C0}"/>
          </ac:spMkLst>
        </pc:spChg>
        <pc:spChg chg="mod">
          <ac:chgData name="Aleksandra Szejko" userId="72bb44d8-1e0c-4109-be82-c57a4fb81907" providerId="ADAL" clId="{F148AB52-FD37-46FA-A16C-2F9835D3C0D5}" dt="2025-07-16T08:49:49.631" v="33" actId="1076"/>
          <ac:spMkLst>
            <pc:docMk/>
            <pc:sldMk cId="3725007298" sldId="2147474787"/>
            <ac:spMk id="29" creationId="{43203101-5174-8FA2-4056-4E447B38757A}"/>
          </ac:spMkLst>
        </pc:spChg>
        <pc:spChg chg="mod">
          <ac:chgData name="Aleksandra Szejko" userId="72bb44d8-1e0c-4109-be82-c57a4fb81907" providerId="ADAL" clId="{F148AB52-FD37-46FA-A16C-2F9835D3C0D5}" dt="2025-07-16T09:36:36.111" v="155" actId="948"/>
          <ac:spMkLst>
            <pc:docMk/>
            <pc:sldMk cId="3725007298" sldId="2147474787"/>
            <ac:spMk id="30" creationId="{2DF43FE6-850B-3E15-2E9F-D990630DCB7D}"/>
          </ac:spMkLst>
        </pc:spChg>
        <pc:spChg chg="mod">
          <ac:chgData name="Aleksandra Szejko" userId="72bb44d8-1e0c-4109-be82-c57a4fb81907" providerId="ADAL" clId="{F148AB52-FD37-46FA-A16C-2F9835D3C0D5}" dt="2025-07-16T09:33:38.075" v="141" actId="790"/>
          <ac:spMkLst>
            <pc:docMk/>
            <pc:sldMk cId="3725007298" sldId="2147474787"/>
            <ac:spMk id="31" creationId="{CDF360CA-1D40-46D0-A524-15EDBBC07BC3}"/>
          </ac:spMkLst>
        </pc:spChg>
        <pc:spChg chg="mod">
          <ac:chgData name="Aleksandra Szejko" userId="72bb44d8-1e0c-4109-be82-c57a4fb81907" providerId="ADAL" clId="{F148AB52-FD37-46FA-A16C-2F9835D3C0D5}" dt="2025-07-16T09:36:36.111" v="155" actId="948"/>
          <ac:spMkLst>
            <pc:docMk/>
            <pc:sldMk cId="3725007298" sldId="2147474787"/>
            <ac:spMk id="34" creationId="{0955D912-5CB7-D7D2-A681-95493839E959}"/>
          </ac:spMkLst>
        </pc:spChg>
        <pc:spChg chg="mod">
          <ac:chgData name="Aleksandra Szejko" userId="72bb44d8-1e0c-4109-be82-c57a4fb81907" providerId="ADAL" clId="{F148AB52-FD37-46FA-A16C-2F9835D3C0D5}" dt="2025-07-16T09:33:38.075" v="141" actId="790"/>
          <ac:spMkLst>
            <pc:docMk/>
            <pc:sldMk cId="3725007298" sldId="2147474787"/>
            <ac:spMk id="35" creationId="{AD885770-2C80-6E6B-9C20-2C7E178D5F55}"/>
          </ac:spMkLst>
        </pc:spChg>
        <pc:spChg chg="mod">
          <ac:chgData name="Aleksandra Szejko" userId="72bb44d8-1e0c-4109-be82-c57a4fb81907" providerId="ADAL" clId="{F148AB52-FD37-46FA-A16C-2F9835D3C0D5}" dt="2025-07-16T09:36:36.111" v="155" actId="948"/>
          <ac:spMkLst>
            <pc:docMk/>
            <pc:sldMk cId="3725007298" sldId="2147474787"/>
            <ac:spMk id="40" creationId="{9B303AE6-5292-C43C-115D-5FE5FF44E7F7}"/>
          </ac:spMkLst>
        </pc:spChg>
        <pc:spChg chg="mod">
          <ac:chgData name="Aleksandra Szejko" userId="72bb44d8-1e0c-4109-be82-c57a4fb81907" providerId="ADAL" clId="{F148AB52-FD37-46FA-A16C-2F9835D3C0D5}" dt="2025-07-16T09:25:34.636" v="61" actId="20577"/>
          <ac:spMkLst>
            <pc:docMk/>
            <pc:sldMk cId="3725007298" sldId="2147474787"/>
            <ac:spMk id="42" creationId="{DC0012EE-8BD1-EDCD-2C77-F5A2000D2FF8}"/>
          </ac:spMkLst>
        </pc:spChg>
        <pc:spChg chg="mod">
          <ac:chgData name="Aleksandra Szejko" userId="72bb44d8-1e0c-4109-be82-c57a4fb81907" providerId="ADAL" clId="{F148AB52-FD37-46FA-A16C-2F9835D3C0D5}" dt="2025-07-16T09:36:36.111" v="155" actId="948"/>
          <ac:spMkLst>
            <pc:docMk/>
            <pc:sldMk cId="3725007298" sldId="2147474787"/>
            <ac:spMk id="49" creationId="{6C17454E-2C5A-6F6B-BB94-AEC8C4771C9D}"/>
          </ac:spMkLst>
        </pc:spChg>
      </pc:sldChg>
    </pc:docChg>
  </pc:docChgLst>
</pc:chgInfo>
</file>

<file path=ppt/comments/modernComment_2807_768C939D.xml><?xml version="1.0" encoding="utf-8"?>
<p188:cmLst xmlns:a="http://schemas.openxmlformats.org/drawingml/2006/main" xmlns:r="http://schemas.openxmlformats.org/officeDocument/2006/relationships" xmlns:p188="http://schemas.microsoft.com/office/powerpoint/2018/8/main">
  <p188:cm id="{000C51A5-390E-4C38-BAF4-5778DA739405}" authorId="{660D5641-7714-E43B-4EDD-9B9EC585A4E2}" status="resolved" created="2025-07-01T12:32:39.801">
    <pc:sldMkLst xmlns:pc="http://schemas.microsoft.com/office/powerpoint/2013/main/command">
      <pc:docMk/>
      <pc:sldMk cId="1988924317" sldId="10247"/>
    </pc:sldMkLst>
    <p188:txBody>
      <a:bodyPr/>
      <a:lstStyle/>
      <a:p>
        <a:r>
          <a:rPr lang="en-US"/>
          <a:t>Key message missing</a:t>
        </a:r>
      </a:p>
    </p188:txBody>
  </p188:cm>
  <p188:cm id="{9EC40842-F54C-445A-9B02-C9F060C03E3E}" authorId="{0CE25C0D-383D-4069-BB9F-436C5AB1BB87}" status="resolved" created="2025-07-02T11:19:54.670">
    <ac:deMkLst xmlns:ac="http://schemas.microsoft.com/office/drawing/2013/main/command">
      <pc:docMk xmlns:pc="http://schemas.microsoft.com/office/powerpoint/2013/main/command"/>
      <pc:sldMk xmlns:pc="http://schemas.microsoft.com/office/powerpoint/2013/main/command" cId="1988924317" sldId="10247"/>
      <ac:spMk id="3" creationId="{B005F419-7C6F-3169-9D26-2EC9C817E974}"/>
    </ac:deMkLst>
    <p188:txBody>
      <a:bodyPr/>
      <a:lstStyle/>
      <a:p>
        <a:r>
          <a:rPr lang="da-DK"/>
          <a:t>Maybe change this up a bit to having the title of the slide focus on the factual aspect like:
“Validation Software” or “Validation Software Designed for Efficiency”
And then have the sub-heading adding the value, like: “Everyday mapping made quicker with ValSuite” 
</a:t>
        </a:r>
      </a:p>
    </p188:txBody>
  </p188:cm>
</p188:cmLst>
</file>

<file path=ppt/comments/modernComment_7FFFDD62_B716EFE2.xml><?xml version="1.0" encoding="utf-8"?>
<p188:cmLst xmlns:a="http://schemas.openxmlformats.org/drawingml/2006/main" xmlns:r="http://schemas.openxmlformats.org/officeDocument/2006/relationships" xmlns:p188="http://schemas.microsoft.com/office/powerpoint/2018/8/main">
  <p188:cm id="{F88EF6CF-0C62-4713-AAD8-F5265A5C4039}" authorId="{506562AE-CED7-245D-BDA2-AE86D6EDDE00}" created="2025-06-13T14:30:30.961">
    <ac:txMkLst xmlns:ac="http://schemas.microsoft.com/office/drawing/2013/main/command">
      <pc:docMk xmlns:pc="http://schemas.microsoft.com/office/powerpoint/2013/main/command"/>
      <pc:sldMk xmlns:pc="http://schemas.microsoft.com/office/powerpoint/2013/main/command" cId="3071733730" sldId="2147474786"/>
      <ac:spMk id="16" creationId="{D83D17AF-4AA1-BF21-669E-684EA4481999}"/>
      <ac:txMk cp="44" len="21">
        <ac:context len="99" hash="4085497601"/>
      </ac:txMk>
    </ac:txMkLst>
    <p188:pos x="2254250" y="529166"/>
    <p188:txBody>
      <a:bodyPr/>
      <a:lstStyle/>
      <a:p>
        <a:r>
          <a:rPr lang="de-DE"/>
          <a:t>i would not advertise with these, since our upcoming product will offer solution web and server based</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5059432E-F7F7-21CD-BF99-27DBE878B59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a:defRPr/>
            </a:pPr>
            <a:endParaRPr lang="da-DK" dirty="0">
              <a:latin typeface="Ellab Sans" panose="02000503000000020004" pitchFamily="2" charset="0"/>
            </a:endParaRPr>
          </a:p>
        </p:txBody>
      </p:sp>
      <p:sp>
        <p:nvSpPr>
          <p:cNvPr id="3" name="Pladsholder til dato 2">
            <a:extLst>
              <a:ext uri="{FF2B5EF4-FFF2-40B4-BE49-F238E27FC236}">
                <a16:creationId xmlns:a16="http://schemas.microsoft.com/office/drawing/2014/main" id="{A6F6D48D-6D58-7445-0C02-8529149D2F4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smtClean="0"/>
            </a:lvl1pPr>
          </a:lstStyle>
          <a:p>
            <a:pPr>
              <a:defRPr/>
            </a:pPr>
            <a:fld id="{0B0AE310-B012-674C-8A21-80655F57D4E0}" type="datetimeFigureOut">
              <a:rPr lang="da-DK">
                <a:latin typeface="Ellab Sans" panose="02000503000000020004" pitchFamily="2" charset="0"/>
              </a:rPr>
              <a:pPr>
                <a:defRPr/>
              </a:pPr>
              <a:t>17-07-2025</a:t>
            </a:fld>
            <a:endParaRPr lang="da-DK" dirty="0">
              <a:latin typeface="Ellab Sans" panose="02000503000000020004" pitchFamily="2" charset="0"/>
            </a:endParaRPr>
          </a:p>
        </p:txBody>
      </p:sp>
      <p:sp>
        <p:nvSpPr>
          <p:cNvPr id="4" name="Pladsholder til sidefod 3">
            <a:extLst>
              <a:ext uri="{FF2B5EF4-FFF2-40B4-BE49-F238E27FC236}">
                <a16:creationId xmlns:a16="http://schemas.microsoft.com/office/drawing/2014/main" id="{B170C1B7-A827-80EA-9006-39EC43743F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a:defRPr/>
            </a:pPr>
            <a:endParaRPr lang="da-DK" dirty="0">
              <a:latin typeface="Ellab Sans" panose="02000503000000020004" pitchFamily="2" charset="0"/>
            </a:endParaRPr>
          </a:p>
        </p:txBody>
      </p:sp>
      <p:sp>
        <p:nvSpPr>
          <p:cNvPr id="5" name="Pladsholder til slidenummer 4">
            <a:extLst>
              <a:ext uri="{FF2B5EF4-FFF2-40B4-BE49-F238E27FC236}">
                <a16:creationId xmlns:a16="http://schemas.microsoft.com/office/drawing/2014/main" id="{9DC846A4-6D5A-89D1-D05A-24055E0A1D7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smtClean="0"/>
            </a:lvl1pPr>
          </a:lstStyle>
          <a:p>
            <a:pPr>
              <a:defRPr/>
            </a:pPr>
            <a:fld id="{A8A2EB59-D83D-7A45-98D9-85F928BE1804}" type="slidenum">
              <a:rPr lang="da-DK">
                <a:latin typeface="Ellab Sans" panose="02000503000000020004" pitchFamily="2" charset="0"/>
              </a:rPr>
              <a:pPr>
                <a:defRPr/>
              </a:pPr>
              <a:t>‹#›</a:t>
            </a:fld>
            <a:endParaRPr lang="da-DK" dirty="0">
              <a:latin typeface="Ellab Sans" panose="02000503000000020004" pitchFamily="2"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92DE11E4-B5D1-F19A-DCE8-2E248CB45E7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Ellab Sans" panose="02000503000000020004" pitchFamily="2" charset="0"/>
              </a:defRPr>
            </a:lvl1pPr>
          </a:lstStyle>
          <a:p>
            <a:pPr>
              <a:defRPr/>
            </a:pPr>
            <a:endParaRPr lang="da-DK" dirty="0"/>
          </a:p>
        </p:txBody>
      </p:sp>
      <p:sp>
        <p:nvSpPr>
          <p:cNvPr id="3" name="Pladsholder til dato 2">
            <a:extLst>
              <a:ext uri="{FF2B5EF4-FFF2-40B4-BE49-F238E27FC236}">
                <a16:creationId xmlns:a16="http://schemas.microsoft.com/office/drawing/2014/main" id="{9DFADC95-83CC-16AD-BCB9-3375A34DB369}"/>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smtClean="0">
                <a:latin typeface="Ellab Sans" panose="02000503000000020004" pitchFamily="2" charset="0"/>
              </a:defRPr>
            </a:lvl1pPr>
          </a:lstStyle>
          <a:p>
            <a:pPr>
              <a:defRPr/>
            </a:pPr>
            <a:fld id="{AAFF2690-4DF5-C147-9830-1EEC22D7D0B2}" type="datetimeFigureOut">
              <a:rPr lang="da-DK" smtClean="0"/>
              <a:pPr>
                <a:defRPr/>
              </a:pPr>
              <a:t>17-07-2025</a:t>
            </a:fld>
            <a:endParaRPr lang="da-DK" dirty="0"/>
          </a:p>
        </p:txBody>
      </p:sp>
      <p:sp>
        <p:nvSpPr>
          <p:cNvPr id="4" name="Pladsholder til slidebillede 3">
            <a:extLst>
              <a:ext uri="{FF2B5EF4-FFF2-40B4-BE49-F238E27FC236}">
                <a16:creationId xmlns:a16="http://schemas.microsoft.com/office/drawing/2014/main" id="{044BB79E-78C4-EDDA-CC0B-15D2F7EE3B01}"/>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da-DK" noProof="0" dirty="0"/>
          </a:p>
        </p:txBody>
      </p:sp>
      <p:sp>
        <p:nvSpPr>
          <p:cNvPr id="5" name="Pladsholder til noter 4">
            <a:extLst>
              <a:ext uri="{FF2B5EF4-FFF2-40B4-BE49-F238E27FC236}">
                <a16:creationId xmlns:a16="http://schemas.microsoft.com/office/drawing/2014/main" id="{56FD0AF4-84CB-1B48-C099-F4F75666C3E1}"/>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6" name="Pladsholder til sidefod 5">
            <a:extLst>
              <a:ext uri="{FF2B5EF4-FFF2-40B4-BE49-F238E27FC236}">
                <a16:creationId xmlns:a16="http://schemas.microsoft.com/office/drawing/2014/main" id="{4350BC10-2840-688B-8C79-DD0C0C4DA7BE}"/>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Ellab Sans" panose="02000503000000020004" pitchFamily="2" charset="0"/>
              </a:defRPr>
            </a:lvl1pPr>
          </a:lstStyle>
          <a:p>
            <a:pPr>
              <a:defRPr/>
            </a:pPr>
            <a:endParaRPr lang="da-DK" dirty="0"/>
          </a:p>
        </p:txBody>
      </p:sp>
      <p:sp>
        <p:nvSpPr>
          <p:cNvPr id="7" name="Pladsholder til slidenummer 6">
            <a:extLst>
              <a:ext uri="{FF2B5EF4-FFF2-40B4-BE49-F238E27FC236}">
                <a16:creationId xmlns:a16="http://schemas.microsoft.com/office/drawing/2014/main" id="{D941D331-EA74-6095-250E-BF55BB2110D2}"/>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smtClean="0">
                <a:latin typeface="Ellab Sans" panose="02000503000000020004" pitchFamily="2" charset="0"/>
              </a:defRPr>
            </a:lvl1pPr>
          </a:lstStyle>
          <a:p>
            <a:pPr>
              <a:defRPr/>
            </a:pPr>
            <a:fld id="{BC49A242-0154-F74C-A511-93BF6AB15D8C}" type="slidenum">
              <a:rPr lang="da-DK" smtClean="0"/>
              <a:pPr>
                <a:defRPr/>
              </a:pPr>
              <a:t>‹#›</a:t>
            </a:fld>
            <a:endParaRPr lang="da-DK" dirty="0"/>
          </a:p>
        </p:txBody>
      </p:sp>
    </p:spTree>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Ellab Sans" panose="02000503000000020004" pitchFamily="2" charset="0"/>
        <a:ea typeface="+mn-ea"/>
        <a:cs typeface="+mn-cs"/>
      </a:defRPr>
    </a:lvl1pPr>
    <a:lvl2pPr marL="457200" algn="l" rtl="0" fontAlgn="base">
      <a:spcBef>
        <a:spcPct val="30000"/>
      </a:spcBef>
      <a:spcAft>
        <a:spcPct val="0"/>
      </a:spcAft>
      <a:defRPr sz="1200" kern="1200">
        <a:solidFill>
          <a:schemeClr val="tx1"/>
        </a:solidFill>
        <a:latin typeface="Ellab Sans" panose="02000503000000020004" pitchFamily="2" charset="0"/>
        <a:ea typeface="+mn-ea"/>
        <a:cs typeface="+mn-cs"/>
      </a:defRPr>
    </a:lvl2pPr>
    <a:lvl3pPr marL="914400" algn="l" rtl="0" fontAlgn="base">
      <a:spcBef>
        <a:spcPct val="30000"/>
      </a:spcBef>
      <a:spcAft>
        <a:spcPct val="0"/>
      </a:spcAft>
      <a:defRPr sz="1200" kern="1200">
        <a:solidFill>
          <a:schemeClr val="tx1"/>
        </a:solidFill>
        <a:latin typeface="Ellab Sans" panose="02000503000000020004" pitchFamily="2" charset="0"/>
        <a:ea typeface="+mn-ea"/>
        <a:cs typeface="+mn-cs"/>
      </a:defRPr>
    </a:lvl3pPr>
    <a:lvl4pPr marL="1371600" algn="l" rtl="0" fontAlgn="base">
      <a:spcBef>
        <a:spcPct val="30000"/>
      </a:spcBef>
      <a:spcAft>
        <a:spcPct val="0"/>
      </a:spcAft>
      <a:defRPr sz="1200" kern="1200">
        <a:solidFill>
          <a:schemeClr val="tx1"/>
        </a:solidFill>
        <a:latin typeface="Ellab Sans" panose="02000503000000020004" pitchFamily="2" charset="0"/>
        <a:ea typeface="+mn-ea"/>
        <a:cs typeface="+mn-cs"/>
      </a:defRPr>
    </a:lvl4pPr>
    <a:lvl5pPr marL="1828800" algn="l" rtl="0" fontAlgn="base">
      <a:spcBef>
        <a:spcPct val="30000"/>
      </a:spcBef>
      <a:spcAft>
        <a:spcPct val="0"/>
      </a:spcAft>
      <a:defRPr sz="1200" kern="1200">
        <a:solidFill>
          <a:schemeClr val="tx1"/>
        </a:solidFill>
        <a:latin typeface="Ellab Sans" panose="02000503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41417-FC4B-7E12-CA6D-D91448365F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8544A7-F8BF-AEBA-0ECE-BF7F777FB7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24B02F-2D23-F3F5-226B-2F8F72EDD439}"/>
              </a:ext>
            </a:extLst>
          </p:cNvPr>
          <p:cNvSpPr>
            <a:spLocks noGrp="1"/>
          </p:cNvSpPr>
          <p:nvPr>
            <p:ph type="body" idx="1"/>
          </p:nvPr>
        </p:nvSpPr>
        <p:spPr/>
        <p:txBody>
          <a:bodyPr/>
          <a:lstStyle/>
          <a:p>
            <a:r>
              <a:rPr lang="en-US">
                <a:latin typeface="Ellab Sans"/>
                <a:ea typeface="Ellab Sans"/>
              </a:rPr>
              <a:t>All those services if done by our teams or the customers teams, are supported by  the best software on the market for thermal validation projects. </a:t>
            </a:r>
          </a:p>
          <a:p>
            <a:pPr marL="171450" indent="-171450">
              <a:buFont typeface="Calibri"/>
              <a:buChar char="-"/>
            </a:pPr>
            <a:r>
              <a:rPr lang="en-US">
                <a:latin typeface="Ellab Sans"/>
                <a:ea typeface="Ellab Sans"/>
              </a:rPr>
              <a:t>Easy setup and various installation options to meet the customers requirements. </a:t>
            </a:r>
          </a:p>
          <a:p>
            <a:pPr marL="171450" indent="-171450">
              <a:buFont typeface="Calibri"/>
              <a:buChar char="-"/>
            </a:pPr>
            <a:r>
              <a:rPr lang="en-US">
                <a:latin typeface="Ellab Sans"/>
                <a:ea typeface="Ellab Sans"/>
              </a:rPr>
              <a:t>Compliant to the global standards. </a:t>
            </a:r>
          </a:p>
          <a:p>
            <a:pPr marL="171450" indent="-171450">
              <a:buFont typeface="Calibri"/>
              <a:buChar char="-"/>
            </a:pPr>
            <a:r>
              <a:rPr lang="en-US">
                <a:latin typeface="Ellab Sans"/>
                <a:ea typeface="Ellab Sans"/>
              </a:rPr>
              <a:t>Quick results &amp; fast evaluation as well as compatibility with 3rd party validation software like KNEAT.</a:t>
            </a:r>
            <a:endParaRPr lang="en-US">
              <a:ea typeface="Ellab Sans"/>
            </a:endParaRPr>
          </a:p>
          <a:p>
            <a:pPr marL="171450" indent="-171450">
              <a:buFont typeface="Calibri"/>
              <a:buChar char="-"/>
            </a:pPr>
            <a:r>
              <a:rPr lang="en-US">
                <a:latin typeface="Ellab Sans"/>
                <a:ea typeface="Ellab Sans"/>
              </a:rPr>
              <a:t>A real time saver, as you can repeat studies easily or start them with out any setup. You also can work offline and at the same time do reports somewhere else with the dual dynamic installation. </a:t>
            </a:r>
          </a:p>
          <a:p>
            <a:pPr marL="171450" indent="-171450">
              <a:buFont typeface="Calibri"/>
              <a:buChar char="-"/>
            </a:pPr>
            <a:endParaRPr lang="en-US">
              <a:ea typeface="Ellab Sans"/>
            </a:endParaRPr>
          </a:p>
        </p:txBody>
      </p:sp>
      <p:sp>
        <p:nvSpPr>
          <p:cNvPr id="4" name="Slide Number Placeholder 3">
            <a:extLst>
              <a:ext uri="{FF2B5EF4-FFF2-40B4-BE49-F238E27FC236}">
                <a16:creationId xmlns:a16="http://schemas.microsoft.com/office/drawing/2014/main" id="{725EB816-EF42-DD00-7454-54832210F573}"/>
              </a:ext>
            </a:extLst>
          </p:cNvPr>
          <p:cNvSpPr>
            <a:spLocks noGrp="1"/>
          </p:cNvSpPr>
          <p:nvPr>
            <p:ph type="sldNum" sz="quarter" idx="5"/>
          </p:nvPr>
        </p:nvSpPr>
        <p:spPr/>
        <p:txBody>
          <a:bodyPr/>
          <a:lstStyle/>
          <a:p>
            <a:pPr>
              <a:defRPr/>
            </a:pPr>
            <a:fld id="{BC49A242-0154-F74C-A511-93BF6AB15D8C}" type="slidenum">
              <a:rPr lang="da-DK" smtClean="0"/>
              <a:pPr>
                <a:defRPr/>
              </a:pPr>
              <a:t>2</a:t>
            </a:fld>
            <a:endParaRPr lang="da-DK"/>
          </a:p>
        </p:txBody>
      </p:sp>
    </p:spTree>
    <p:extLst>
      <p:ext uri="{BB962C8B-B14F-4D97-AF65-F5344CB8AC3E}">
        <p14:creationId xmlns:p14="http://schemas.microsoft.com/office/powerpoint/2010/main" val="31719248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D947B-598B-8C63-6092-CF32DCDDB6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BB70D8-B17F-5348-69BF-5A9ABDBD43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B77BD4-6F39-15E1-F2A0-9BA92A4B2D5D}"/>
              </a:ext>
            </a:extLst>
          </p:cNvPr>
          <p:cNvSpPr>
            <a:spLocks noGrp="1"/>
          </p:cNvSpPr>
          <p:nvPr>
            <p:ph type="body" idx="1"/>
          </p:nvPr>
        </p:nvSpPr>
        <p:spPr/>
        <p:txBody>
          <a:bodyPr/>
          <a:lstStyle/>
          <a:p>
            <a:r>
              <a:rPr lang="en-US">
                <a:latin typeface="Ellab Sans"/>
                <a:ea typeface="Ellab Sans"/>
              </a:rPr>
              <a:t>All those services if done by our teams or the customers teams, are supported by  the best software on the market for thermal validation projects. </a:t>
            </a:r>
          </a:p>
          <a:p>
            <a:pPr marL="171450" indent="-171450">
              <a:buFont typeface="Calibri"/>
              <a:buChar char="-"/>
            </a:pPr>
            <a:r>
              <a:rPr lang="en-US">
                <a:latin typeface="Ellab Sans"/>
                <a:ea typeface="Ellab Sans"/>
              </a:rPr>
              <a:t>Easy setup and various installation options to meet the customers requirements. </a:t>
            </a:r>
          </a:p>
          <a:p>
            <a:pPr marL="171450" indent="-171450">
              <a:buFont typeface="Calibri"/>
              <a:buChar char="-"/>
            </a:pPr>
            <a:r>
              <a:rPr lang="en-US">
                <a:latin typeface="Ellab Sans"/>
                <a:ea typeface="Ellab Sans"/>
              </a:rPr>
              <a:t>Compliant to the global standards. </a:t>
            </a:r>
          </a:p>
          <a:p>
            <a:pPr marL="171450" indent="-171450">
              <a:buFont typeface="Calibri"/>
              <a:buChar char="-"/>
            </a:pPr>
            <a:r>
              <a:rPr lang="en-US">
                <a:latin typeface="Ellab Sans"/>
                <a:ea typeface="Ellab Sans"/>
              </a:rPr>
              <a:t>Quick results &amp; fast evaluation as well as compatibility with 3rd party validation software like KNEAT.</a:t>
            </a:r>
            <a:endParaRPr lang="en-US">
              <a:ea typeface="Ellab Sans"/>
            </a:endParaRPr>
          </a:p>
          <a:p>
            <a:pPr marL="171450" indent="-171450">
              <a:buFont typeface="Calibri"/>
              <a:buChar char="-"/>
            </a:pPr>
            <a:r>
              <a:rPr lang="en-US">
                <a:latin typeface="Ellab Sans"/>
                <a:ea typeface="Ellab Sans"/>
              </a:rPr>
              <a:t>A real time saver, as you can repeat studies easily or start them with out any setup. You also can work offline and at the same time do reports somewhere else with the dual dynamic installation. </a:t>
            </a:r>
          </a:p>
          <a:p>
            <a:pPr marL="171450" indent="-171450">
              <a:buFont typeface="Calibri"/>
              <a:buChar char="-"/>
            </a:pPr>
            <a:endParaRPr lang="en-US">
              <a:ea typeface="Ellab Sans"/>
            </a:endParaRPr>
          </a:p>
        </p:txBody>
      </p:sp>
      <p:sp>
        <p:nvSpPr>
          <p:cNvPr id="4" name="Slide Number Placeholder 3">
            <a:extLst>
              <a:ext uri="{FF2B5EF4-FFF2-40B4-BE49-F238E27FC236}">
                <a16:creationId xmlns:a16="http://schemas.microsoft.com/office/drawing/2014/main" id="{88336372-95ED-768B-9A2F-AD9E21BB4F05}"/>
              </a:ext>
            </a:extLst>
          </p:cNvPr>
          <p:cNvSpPr>
            <a:spLocks noGrp="1"/>
          </p:cNvSpPr>
          <p:nvPr>
            <p:ph type="sldNum" sz="quarter" idx="5"/>
          </p:nvPr>
        </p:nvSpPr>
        <p:spPr/>
        <p:txBody>
          <a:bodyPr/>
          <a:lstStyle/>
          <a:p>
            <a:pPr>
              <a:defRPr/>
            </a:pPr>
            <a:fld id="{BC49A242-0154-F74C-A511-93BF6AB15D8C}" type="slidenum">
              <a:rPr lang="da-DK" smtClean="0"/>
              <a:pPr>
                <a:defRPr/>
              </a:pPr>
              <a:t>3</a:t>
            </a:fld>
            <a:endParaRPr lang="da-DK"/>
          </a:p>
        </p:txBody>
      </p:sp>
    </p:spTree>
    <p:extLst>
      <p:ext uri="{BB962C8B-B14F-4D97-AF65-F5344CB8AC3E}">
        <p14:creationId xmlns:p14="http://schemas.microsoft.com/office/powerpoint/2010/main" val="1022970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41425"/>
            <a:ext cx="5956300" cy="3351213"/>
          </a:xfrm>
        </p:spPr>
      </p:sp>
      <p:sp>
        <p:nvSpPr>
          <p:cNvPr id="3" name="Notes Placeholder 2"/>
          <p:cNvSpPr>
            <a:spLocks noGrp="1"/>
          </p:cNvSpPr>
          <p:nvPr>
            <p:ph type="body" idx="1"/>
          </p:nvPr>
        </p:nvSpPr>
        <p:spPr/>
        <p:txBody>
          <a:bodyPr/>
          <a:lstStyle/>
          <a:p>
            <a:r>
              <a:rPr lang="en-GB" dirty="0"/>
              <a:t>Regarding PQ: In a PQ test, our equipment operates in its real process environment. This usually isn't part of our default scope unless our field service is engaged. Typically, we provide IQ/OQ, and for this purpose, we have defined products:</a:t>
            </a:r>
            <a:br>
              <a:rPr lang="en-GB" dirty="0"/>
            </a:br>
            <a:br>
              <a:rPr lang="en-GB" dirty="0"/>
            </a:br>
            <a:r>
              <a:rPr lang="en-GB" dirty="0"/>
              <a:t>1: Template free of use, on the memory stick.</a:t>
            </a:r>
            <a:br>
              <a:rPr lang="en-GB" dirty="0"/>
            </a:br>
            <a:r>
              <a:rPr lang="en-GB" dirty="0"/>
              <a:t>2: Generic protocol product No. 31182050</a:t>
            </a:r>
            <a:br>
              <a:rPr lang="en-GB" dirty="0"/>
            </a:br>
            <a:r>
              <a:rPr lang="en-GB" dirty="0"/>
              <a:t>3: Validation of customer equipment, not sure of number.</a:t>
            </a:r>
            <a:endParaRPr lang="en-DK" dirty="0"/>
          </a:p>
        </p:txBody>
      </p:sp>
      <p:sp>
        <p:nvSpPr>
          <p:cNvPr id="4" name="Slide Number Placeholder 3"/>
          <p:cNvSpPr>
            <a:spLocks noGrp="1"/>
          </p:cNvSpPr>
          <p:nvPr>
            <p:ph type="sldNum" sz="quarter" idx="5"/>
          </p:nvPr>
        </p:nvSpPr>
        <p:spPr/>
        <p:txBody>
          <a:bodyPr/>
          <a:lstStyle/>
          <a:p>
            <a:fld id="{E5541204-5A5F-4388-B1C3-76397759BA1C}" type="slidenum">
              <a:rPr lang="en-DK" smtClean="0"/>
              <a:t>4</a:t>
            </a:fld>
            <a:endParaRPr lang="en-DK"/>
          </a:p>
        </p:txBody>
      </p:sp>
    </p:spTree>
    <p:extLst>
      <p:ext uri="{BB962C8B-B14F-4D97-AF65-F5344CB8AC3E}">
        <p14:creationId xmlns:p14="http://schemas.microsoft.com/office/powerpoint/2010/main" val="30081595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41425"/>
            <a:ext cx="5956300" cy="3351213"/>
          </a:xfrm>
        </p:spPr>
      </p:sp>
      <p:sp>
        <p:nvSpPr>
          <p:cNvPr id="3" name="Notes Placeholder 2"/>
          <p:cNvSpPr>
            <a:spLocks noGrp="1"/>
          </p:cNvSpPr>
          <p:nvPr>
            <p:ph type="body" idx="1"/>
          </p:nvPr>
        </p:nvSpPr>
        <p:spPr/>
        <p:txBody>
          <a:bodyPr/>
          <a:lstStyle/>
          <a:p>
            <a:r>
              <a:rPr lang="en-GB" dirty="0"/>
              <a:t>Site where all users are connected to the Software.</a:t>
            </a:r>
          </a:p>
          <a:p>
            <a:endParaRPr lang="en-GB" dirty="0"/>
          </a:p>
          <a:p>
            <a:r>
              <a:rPr lang="en-GB" sz="1800" dirty="0">
                <a:effectLst/>
                <a:latin typeface="Ellab Sans" panose="02000503000000020004" pitchFamily="2" charset="0"/>
              </a:rPr>
              <a:t>Ellab has different server setups available:</a:t>
            </a:r>
            <a:br>
              <a:rPr lang="en-GB" sz="1800" dirty="0">
                <a:effectLst/>
                <a:latin typeface="Ellab Sans" panose="02000503000000020004" pitchFamily="2" charset="0"/>
              </a:rPr>
            </a:br>
            <a:br>
              <a:rPr lang="en-GB" sz="1800" dirty="0">
                <a:effectLst/>
                <a:latin typeface="Ellab Sans" panose="02000503000000020004" pitchFamily="2" charset="0"/>
              </a:rPr>
            </a:br>
            <a:r>
              <a:rPr lang="en-GB" sz="1800" dirty="0">
                <a:effectLst/>
                <a:latin typeface="Ellab Sans" panose="02000503000000020004" pitchFamily="2" charset="0"/>
              </a:rPr>
              <a:t>1: Microsoft SQL Server/client setup</a:t>
            </a:r>
            <a:br>
              <a:rPr lang="en-GB" sz="1800" dirty="0">
                <a:effectLst/>
                <a:latin typeface="Ellab Sans" panose="02000503000000020004" pitchFamily="2" charset="0"/>
              </a:rPr>
            </a:br>
            <a:r>
              <a:rPr lang="en-GB" sz="1800" dirty="0">
                <a:effectLst/>
                <a:latin typeface="Ellab Sans" panose="02000503000000020004" pitchFamily="2" charset="0"/>
              </a:rPr>
              <a:t>2: Microsoft SQL Server/client setup with Dual Dynamic Database (includes users not always on the company network)</a:t>
            </a:r>
            <a:br>
              <a:rPr lang="en-GB" sz="1800" dirty="0">
                <a:effectLst/>
                <a:latin typeface="Ellab Sans" panose="02000503000000020004" pitchFamily="2" charset="0"/>
              </a:rPr>
            </a:br>
            <a:r>
              <a:rPr lang="en-GB" sz="1800" dirty="0">
                <a:effectLst/>
                <a:latin typeface="Ellab Sans" panose="02000503000000020004" pitchFamily="2" charset="0"/>
              </a:rPr>
              <a:t>3: Citrix installation</a:t>
            </a:r>
            <a:endParaRPr lang="en-DK" dirty="0"/>
          </a:p>
        </p:txBody>
      </p:sp>
      <p:sp>
        <p:nvSpPr>
          <p:cNvPr id="4" name="Slide Number Placeholder 3"/>
          <p:cNvSpPr>
            <a:spLocks noGrp="1"/>
          </p:cNvSpPr>
          <p:nvPr>
            <p:ph type="sldNum" sz="quarter" idx="5"/>
          </p:nvPr>
        </p:nvSpPr>
        <p:spPr/>
        <p:txBody>
          <a:bodyPr/>
          <a:lstStyle/>
          <a:p>
            <a:fld id="{E5541204-5A5F-4388-B1C3-76397759BA1C}" type="slidenum">
              <a:rPr lang="en-DK" smtClean="0"/>
              <a:t>5</a:t>
            </a:fld>
            <a:endParaRPr lang="en-DK"/>
          </a:p>
        </p:txBody>
      </p:sp>
    </p:spTree>
    <p:extLst>
      <p:ext uri="{BB962C8B-B14F-4D97-AF65-F5344CB8AC3E}">
        <p14:creationId xmlns:p14="http://schemas.microsoft.com/office/powerpoint/2010/main" val="3306887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BC49A242-0154-F74C-A511-93BF6AB15D8C}" type="slidenum">
              <a:rPr lang="da-DK" smtClean="0"/>
              <a:pPr>
                <a:defRPr/>
              </a:pPr>
              <a:t>6</a:t>
            </a:fld>
            <a:endParaRPr lang="da-DK" dirty="0"/>
          </a:p>
        </p:txBody>
      </p:sp>
    </p:spTree>
    <p:extLst>
      <p:ext uri="{BB962C8B-B14F-4D97-AF65-F5344CB8AC3E}">
        <p14:creationId xmlns:p14="http://schemas.microsoft.com/office/powerpoint/2010/main" val="24719195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2.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image" Target="../media/image17.jp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jp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svg"/><Relationship Id="rId2" Type="http://schemas.openxmlformats.org/officeDocument/2006/relationships/image" Target="../media/image26.jp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hyperlink" Target="https://www.linkedin.com/company/ellab/" TargetMode="External"/><Relationship Id="rId4" Type="http://schemas.openxmlformats.org/officeDocument/2006/relationships/hyperlink" Target="https://www.ellab.com/" TargetMode="Externa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02741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content slide 3">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5404473" y="2520000"/>
            <a:ext cx="6452565"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sp>
        <p:nvSpPr>
          <p:cNvPr id="27" name="Pladsholder til tekst 3"/>
          <p:cNvSpPr>
            <a:spLocks noGrp="1"/>
          </p:cNvSpPr>
          <p:nvPr>
            <p:ph type="body" sz="half" idx="2"/>
          </p:nvPr>
        </p:nvSpPr>
        <p:spPr>
          <a:xfrm>
            <a:off x="5404474" y="1566000"/>
            <a:ext cx="6452564"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5392998" y="965049"/>
            <a:ext cx="6464040" cy="360000"/>
          </a:xfrm>
        </p:spPr>
        <p:txBody>
          <a:bodyPr wrap="square">
            <a:noAutofit/>
          </a:bodyPr>
          <a:lstStyle>
            <a:lvl1pPr>
              <a:lnSpc>
                <a:spcPts val="3800"/>
              </a:lnSpc>
              <a:defRPr sz="3600"/>
            </a:lvl1pPr>
          </a:lstStyle>
          <a:p>
            <a:r>
              <a:rPr lang="da-DK" dirty="0"/>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371475" y="936000"/>
            <a:ext cx="4324350" cy="5229850"/>
          </a:xfrm>
        </p:spPr>
        <p:txBody>
          <a:bodyPr/>
          <a:lstStyle/>
          <a:p>
            <a:r>
              <a:rPr lang="da-DK"/>
              <a:t>Klik på ikonet for at tilføje et billede</a:t>
            </a:r>
            <a:endParaRPr lang="da-DK" dirty="0"/>
          </a:p>
        </p:txBody>
      </p:sp>
      <p:pic>
        <p:nvPicPr>
          <p:cNvPr id="5" name="Billede 5">
            <a:extLst>
              <a:ext uri="{FF2B5EF4-FFF2-40B4-BE49-F238E27FC236}">
                <a16:creationId xmlns:a16="http://schemas.microsoft.com/office/drawing/2014/main" id="{AD4D8A8E-012A-80EF-4E00-3E736B28E8A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4275201149"/>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content slide 4">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Pladsholder til tekst 3"/>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dirty="0"/>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11497038" cy="360000"/>
          </a:xfrm>
        </p:spPr>
        <p:txBody>
          <a:bodyPr wrap="square">
            <a:noAutofit/>
          </a:bodyPr>
          <a:lstStyle>
            <a:lvl1pPr>
              <a:lnSpc>
                <a:spcPts val="3800"/>
              </a:lnSpc>
              <a:defRPr sz="3600"/>
            </a:lvl1pPr>
          </a:lstStyle>
          <a:p>
            <a:r>
              <a:rPr lang="da-DK" dirty="0"/>
              <a:t>Klik for at redigere titeltypografien i masteren</a:t>
            </a:r>
          </a:p>
        </p:txBody>
      </p:sp>
      <p:sp>
        <p:nvSpPr>
          <p:cNvPr id="5" name="Pladsholder til indhold 4">
            <a:extLst>
              <a:ext uri="{FF2B5EF4-FFF2-40B4-BE49-F238E27FC236}">
                <a16:creationId xmlns:a16="http://schemas.microsoft.com/office/drawing/2014/main" id="{48C364EF-8BA1-3690-B05C-45C03F05CCAB}"/>
              </a:ext>
            </a:extLst>
          </p:cNvPr>
          <p:cNvSpPr>
            <a:spLocks noGrp="1"/>
          </p:cNvSpPr>
          <p:nvPr>
            <p:ph sz="quarter" idx="14"/>
          </p:nvPr>
        </p:nvSpPr>
        <p:spPr>
          <a:xfrm>
            <a:off x="371474" y="2520000"/>
            <a:ext cx="5400000" cy="3645850"/>
          </a:xfrm>
        </p:spPr>
        <p:txBody>
          <a:bodyPr/>
          <a:lstStyle>
            <a:lvl1pPr>
              <a:lnSpc>
                <a:spcPts val="1600"/>
              </a:lnSpc>
              <a:defRPr sz="1400" b="0"/>
            </a:lvl1pPr>
          </a:lstStyle>
          <a:p>
            <a:pPr lvl="0"/>
            <a:r>
              <a:rPr lang="da-DK" dirty="0"/>
              <a:t>Klik for at redigere teksttypografierne i masteren</a:t>
            </a:r>
          </a:p>
        </p:txBody>
      </p:sp>
      <p:sp>
        <p:nvSpPr>
          <p:cNvPr id="6" name="Pladsholder til indhold 4">
            <a:extLst>
              <a:ext uri="{FF2B5EF4-FFF2-40B4-BE49-F238E27FC236}">
                <a16:creationId xmlns:a16="http://schemas.microsoft.com/office/drawing/2014/main" id="{2ABA36BD-9324-6825-8DB4-BA7CC7BCF5EC}"/>
              </a:ext>
            </a:extLst>
          </p:cNvPr>
          <p:cNvSpPr>
            <a:spLocks noGrp="1"/>
          </p:cNvSpPr>
          <p:nvPr>
            <p:ph sz="quarter" idx="15"/>
          </p:nvPr>
        </p:nvSpPr>
        <p:spPr>
          <a:xfrm>
            <a:off x="6457038" y="2520000"/>
            <a:ext cx="5400000" cy="3645850"/>
          </a:xfrm>
        </p:spPr>
        <p:txBody>
          <a:bodyPr/>
          <a:lstStyle>
            <a:lvl1pPr>
              <a:lnSpc>
                <a:spcPts val="1600"/>
              </a:lnSpc>
              <a:defRPr sz="1400" b="0"/>
            </a:lvl1pPr>
          </a:lstStyle>
          <a:p>
            <a:pPr lvl="0"/>
            <a:r>
              <a:rPr lang="da-DK"/>
              <a:t>Klik for at redigere teksttypografierne i masteren</a:t>
            </a:r>
          </a:p>
        </p:txBody>
      </p:sp>
      <p:pic>
        <p:nvPicPr>
          <p:cNvPr id="4" name="Billede 5">
            <a:extLst>
              <a:ext uri="{FF2B5EF4-FFF2-40B4-BE49-F238E27FC236}">
                <a16:creationId xmlns:a16="http://schemas.microsoft.com/office/drawing/2014/main" id="{32144073-8049-9F66-3EC9-D55F7E8C60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50109819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Graphic 2">
            <a:extLst>
              <a:ext uri="{FF2B5EF4-FFF2-40B4-BE49-F238E27FC236}">
                <a16:creationId xmlns:a16="http://schemas.microsoft.com/office/drawing/2014/main" id="{EDBCBCE0-92AE-284B-893D-2E9229DE6483}"/>
              </a:ext>
            </a:extLst>
          </p:cNvPr>
          <p:cNvSpPr/>
          <p:nvPr userDrawn="1"/>
        </p:nvSpPr>
        <p:spPr>
          <a:xfrm rot="10800000">
            <a:off x="0" y="3514726"/>
            <a:ext cx="3166533" cy="2910840"/>
          </a:xfrm>
          <a:custGeom>
            <a:avLst/>
            <a:gdLst>
              <a:gd name="connsiteX0" fmla="*/ 7445899 w 7445898"/>
              <a:gd name="connsiteY0" fmla="*/ 0 h 6858311"/>
              <a:gd name="connsiteX1" fmla="*/ 814055 w 7445898"/>
              <a:gd name="connsiteY1" fmla="*/ 0 h 6858311"/>
              <a:gd name="connsiteX2" fmla="*/ 691476 w 7445898"/>
              <a:gd name="connsiteY2" fmla="*/ 70046 h 6858311"/>
              <a:gd name="connsiteX3" fmla="*/ 69433 w 7445898"/>
              <a:gd name="connsiteY3" fmla="*/ 678643 h 6858311"/>
              <a:gd name="connsiteX4" fmla="*/ 14093 w 7445898"/>
              <a:gd name="connsiteY4" fmla="*/ 1220462 h 6858311"/>
              <a:gd name="connsiteX5" fmla="*/ 1196590 w 7445898"/>
              <a:gd name="connsiteY5" fmla="*/ 2436198 h 6858311"/>
              <a:gd name="connsiteX6" fmla="*/ 1916738 w 7445898"/>
              <a:gd name="connsiteY6" fmla="*/ 2482043 h 6858311"/>
              <a:gd name="connsiteX7" fmla="*/ 3150397 w 7445898"/>
              <a:gd name="connsiteY7" fmla="*/ 3091829 h 6858311"/>
              <a:gd name="connsiteX8" fmla="*/ 4012367 w 7445898"/>
              <a:gd name="connsiteY8" fmla="*/ 4723248 h 6858311"/>
              <a:gd name="connsiteX9" fmla="*/ 5068468 w 7445898"/>
              <a:gd name="connsiteY9" fmla="*/ 6225771 h 6858311"/>
              <a:gd name="connsiteX10" fmla="*/ 6762342 w 7445898"/>
              <a:gd name="connsiteY10" fmla="*/ 6855353 h 6858311"/>
              <a:gd name="connsiteX11" fmla="*/ 7445899 w 7445898"/>
              <a:gd name="connsiteY11" fmla="*/ 6675706 h 68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45898" h="6858311">
                <a:moveTo>
                  <a:pt x="7445899" y="0"/>
                </a:moveTo>
                <a:lnTo>
                  <a:pt x="814055" y="0"/>
                </a:lnTo>
                <a:cubicBezTo>
                  <a:pt x="772956" y="22780"/>
                  <a:pt x="732096" y="46129"/>
                  <a:pt x="691476" y="70046"/>
                </a:cubicBezTo>
                <a:cubicBezTo>
                  <a:pt x="437089" y="220054"/>
                  <a:pt x="183450" y="406335"/>
                  <a:pt x="69433" y="678643"/>
                </a:cubicBezTo>
                <a:cubicBezTo>
                  <a:pt x="2750" y="851036"/>
                  <a:pt x="-16363" y="1038163"/>
                  <a:pt x="14093" y="1220462"/>
                </a:cubicBezTo>
                <a:cubicBezTo>
                  <a:pt x="99251" y="1818761"/>
                  <a:pt x="600495" y="2334263"/>
                  <a:pt x="1196590" y="2436198"/>
                </a:cubicBezTo>
                <a:cubicBezTo>
                  <a:pt x="1433845" y="2476815"/>
                  <a:pt x="1677297" y="2457475"/>
                  <a:pt x="1916738" y="2482043"/>
                </a:cubicBezTo>
                <a:cubicBezTo>
                  <a:pt x="2387473" y="2532139"/>
                  <a:pt x="2824896" y="2748353"/>
                  <a:pt x="3150397" y="3091829"/>
                </a:cubicBezTo>
                <a:cubicBezTo>
                  <a:pt x="3574268" y="3542460"/>
                  <a:pt x="3759732" y="4158656"/>
                  <a:pt x="4012367" y="4723248"/>
                </a:cubicBezTo>
                <a:cubicBezTo>
                  <a:pt x="4264419" y="5286494"/>
                  <a:pt x="4600948" y="5822741"/>
                  <a:pt x="5068468" y="6225771"/>
                </a:cubicBezTo>
                <a:cubicBezTo>
                  <a:pt x="5535988" y="6628800"/>
                  <a:pt x="6145756" y="6889261"/>
                  <a:pt x="6762342" y="6855353"/>
                </a:cubicBezTo>
                <a:cubicBezTo>
                  <a:pt x="7023697" y="6841023"/>
                  <a:pt x="7248596" y="6776961"/>
                  <a:pt x="7445899" y="6675706"/>
                </a:cubicBezTo>
                <a:close/>
              </a:path>
            </a:pathLst>
          </a:custGeom>
          <a:gradFill flip="none" rotWithShape="1">
            <a:gsLst>
              <a:gs pos="0">
                <a:srgbClr val="9EC9DF">
                  <a:alpha val="38000"/>
                </a:srgbClr>
              </a:gs>
              <a:gs pos="100000">
                <a:srgbClr val="1F6898">
                  <a:alpha val="46000"/>
                </a:srgbClr>
              </a:gs>
            </a:gsLst>
            <a:lin ang="5400000" scaled="1"/>
            <a:tileRect/>
          </a:gradFill>
          <a:ln w="7476" cap="flat">
            <a:noFill/>
            <a:prstDash val="solid"/>
            <a:miter/>
          </a:ln>
        </p:spPr>
        <p:txBody>
          <a:bodyPr anchor="ctr"/>
          <a:lstStyle/>
          <a:p>
            <a:pPr eaLnBrk="1" fontAlgn="auto" hangingPunct="1">
              <a:spcBef>
                <a:spcPts val="0"/>
              </a:spcBef>
              <a:spcAft>
                <a:spcPts val="0"/>
              </a:spcAft>
              <a:defRPr/>
            </a:pPr>
            <a:endParaRPr lang="en-US" sz="1404" dirty="0">
              <a:solidFill>
                <a:schemeClr val="bg1"/>
              </a:solidFill>
              <a:latin typeface="Ellab Sans" panose="02000503000000020004" pitchFamily="2" charset="0"/>
            </a:endParaRPr>
          </a:p>
        </p:txBody>
      </p:sp>
      <p:sp>
        <p:nvSpPr>
          <p:cNvPr id="6" name="Graphic 16">
            <a:extLst>
              <a:ext uri="{FF2B5EF4-FFF2-40B4-BE49-F238E27FC236}">
                <a16:creationId xmlns:a16="http://schemas.microsoft.com/office/drawing/2014/main" id="{8C098174-923F-6C47-BEF5-467C484F948D}"/>
              </a:ext>
            </a:extLst>
          </p:cNvPr>
          <p:cNvSpPr/>
          <p:nvPr userDrawn="1"/>
        </p:nvSpPr>
        <p:spPr>
          <a:xfrm>
            <a:off x="5831417" y="131446"/>
            <a:ext cx="3911600" cy="6301740"/>
          </a:xfrm>
          <a:custGeom>
            <a:avLst/>
            <a:gdLst>
              <a:gd name="connsiteX0" fmla="*/ 1122127 w 5278128"/>
              <a:gd name="connsiteY0" fmla="*/ 4801553 h 4801552"/>
              <a:gd name="connsiteX1" fmla="*/ 4156024 w 5278128"/>
              <a:gd name="connsiteY1" fmla="*/ 4801553 h 4801552"/>
              <a:gd name="connsiteX2" fmla="*/ 5278128 w 5278128"/>
              <a:gd name="connsiteY2" fmla="*/ 2640578 h 4801552"/>
              <a:gd name="connsiteX3" fmla="*/ 2639073 w 5278128"/>
              <a:gd name="connsiteY3" fmla="*/ 0 h 4801552"/>
              <a:gd name="connsiteX4" fmla="*/ 0 w 5278128"/>
              <a:gd name="connsiteY4" fmla="*/ 2640578 h 4801552"/>
              <a:gd name="connsiteX5" fmla="*/ 1122127 w 5278128"/>
              <a:gd name="connsiteY5" fmla="*/ 4801553 h 480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78128" h="4801552">
                <a:moveTo>
                  <a:pt x="1122127" y="4801553"/>
                </a:moveTo>
                <a:lnTo>
                  <a:pt x="4156024" y="4801553"/>
                </a:lnTo>
                <a:cubicBezTo>
                  <a:pt x="4834685" y="4323728"/>
                  <a:pt x="5278128" y="3533985"/>
                  <a:pt x="5278128" y="2640578"/>
                </a:cubicBezTo>
                <a:cubicBezTo>
                  <a:pt x="5278128" y="1182225"/>
                  <a:pt x="4096591" y="0"/>
                  <a:pt x="2639073" y="0"/>
                </a:cubicBezTo>
                <a:cubicBezTo>
                  <a:pt x="1181556" y="0"/>
                  <a:pt x="0" y="1182225"/>
                  <a:pt x="0" y="2640578"/>
                </a:cubicBezTo>
                <a:cubicBezTo>
                  <a:pt x="0" y="3533985"/>
                  <a:pt x="443461" y="4323728"/>
                  <a:pt x="1122127" y="4801553"/>
                </a:cubicBezTo>
                <a:close/>
              </a:path>
            </a:pathLst>
          </a:custGeom>
          <a:gradFill flip="none" rotWithShape="1">
            <a:gsLst>
              <a:gs pos="0">
                <a:srgbClr val="1F6898">
                  <a:alpha val="40000"/>
                </a:srgbClr>
              </a:gs>
              <a:gs pos="100000">
                <a:srgbClr val="FFFFFF">
                  <a:shade val="100000"/>
                  <a:satMod val="115000"/>
                </a:srgbClr>
              </a:gs>
            </a:gsLst>
            <a:lin ang="16800000" scaled="0"/>
            <a:tileRect/>
          </a:gradFill>
          <a:ln w="4502" cap="flat">
            <a:noFill/>
            <a:prstDash val="solid"/>
            <a:miter/>
          </a:ln>
        </p:spPr>
        <p:txBody>
          <a:bodyPr anchor="ctr"/>
          <a:lstStyle/>
          <a:p>
            <a:pPr eaLnBrk="1" fontAlgn="auto" hangingPunct="1">
              <a:spcBef>
                <a:spcPts val="0"/>
              </a:spcBef>
              <a:spcAft>
                <a:spcPts val="0"/>
              </a:spcAft>
              <a:defRPr/>
            </a:pPr>
            <a:endParaRPr lang="en-US" sz="1404" dirty="0">
              <a:solidFill>
                <a:schemeClr val="bg1"/>
              </a:solidFill>
              <a:latin typeface="Ellab Sans" panose="02000503000000020004" pitchFamily="2" charset="0"/>
            </a:endParaRPr>
          </a:p>
        </p:txBody>
      </p:sp>
      <p:cxnSp>
        <p:nvCxnSpPr>
          <p:cNvPr id="7" name="Google Shape;44;p6">
            <a:extLst>
              <a:ext uri="{FF2B5EF4-FFF2-40B4-BE49-F238E27FC236}">
                <a16:creationId xmlns:a16="http://schemas.microsoft.com/office/drawing/2014/main" id="{C361DA2F-D012-E24D-82D9-9FC9C19F10F6}"/>
              </a:ext>
            </a:extLst>
          </p:cNvPr>
          <p:cNvCxnSpPr>
            <a:cxnSpLocks/>
          </p:cNvCxnSpPr>
          <p:nvPr userDrawn="1"/>
        </p:nvCxnSpPr>
        <p:spPr bwMode="auto">
          <a:xfrm>
            <a:off x="853018" y="2754630"/>
            <a:ext cx="901700" cy="0"/>
          </a:xfrm>
          <a:prstGeom prst="straightConnector1">
            <a:avLst/>
          </a:prstGeom>
          <a:noFill/>
          <a:ln w="76200">
            <a:solidFill>
              <a:srgbClr val="A9003C"/>
            </a:solidFill>
            <a:round/>
            <a:headEnd/>
            <a:tailEnd/>
          </a:ln>
          <a:extLst>
            <a:ext uri="{909E8E84-426E-40DD-AFC4-6F175D3DCCD1}">
              <a14:hiddenFill xmlns:a14="http://schemas.microsoft.com/office/drawing/2010/main">
                <a:noFill/>
              </a14:hiddenFill>
            </a:ext>
          </a:extLst>
        </p:spPr>
      </p:cxnSp>
      <p:sp>
        <p:nvSpPr>
          <p:cNvPr id="9" name="Picture Placeholder 11"/>
          <p:cNvSpPr>
            <a:spLocks noGrp="1"/>
          </p:cNvSpPr>
          <p:nvPr>
            <p:ph type="pic" sz="quarter" idx="12"/>
          </p:nvPr>
        </p:nvSpPr>
        <p:spPr>
          <a:xfrm>
            <a:off x="6150188" y="2902"/>
            <a:ext cx="6042237" cy="6432827"/>
          </a:xfrm>
          <a:custGeom>
            <a:avLst/>
            <a:gdLst>
              <a:gd name="connsiteX0" fmla="*/ 588166 w 4652544"/>
              <a:gd name="connsiteY0" fmla="*/ 0 h 4945656"/>
              <a:gd name="connsiteX1" fmla="*/ 4642814 w 4652544"/>
              <a:gd name="connsiteY1" fmla="*/ 0 h 4945656"/>
              <a:gd name="connsiteX2" fmla="*/ 4652544 w 4652544"/>
              <a:gd name="connsiteY2" fmla="*/ 4945656 h 4945656"/>
              <a:gd name="connsiteX3" fmla="*/ 955205 w 4652544"/>
              <a:gd name="connsiteY3" fmla="*/ 4945656 h 4945656"/>
              <a:gd name="connsiteX4" fmla="*/ 786241 w 4652544"/>
              <a:gd name="connsiteY4" fmla="*/ 4695345 h 4945656"/>
              <a:gd name="connsiteX5" fmla="*/ 588166 w 4652544"/>
              <a:gd name="connsiteY5" fmla="*/ 0 h 4945656"/>
              <a:gd name="connsiteX0" fmla="*/ 588166 w 4642814"/>
              <a:gd name="connsiteY0" fmla="*/ 0 h 4945656"/>
              <a:gd name="connsiteX1" fmla="*/ 4642814 w 4642814"/>
              <a:gd name="connsiteY1" fmla="*/ 0 h 4945656"/>
              <a:gd name="connsiteX2" fmla="*/ 4464495 w 4642814"/>
              <a:gd name="connsiteY2" fmla="*/ 4818662 h 4945656"/>
              <a:gd name="connsiteX3" fmla="*/ 955205 w 4642814"/>
              <a:gd name="connsiteY3" fmla="*/ 4945656 h 4945656"/>
              <a:gd name="connsiteX4" fmla="*/ 786241 w 4642814"/>
              <a:gd name="connsiteY4" fmla="*/ 4695345 h 4945656"/>
              <a:gd name="connsiteX5" fmla="*/ 588166 w 4642814"/>
              <a:gd name="connsiteY5" fmla="*/ 0 h 4945656"/>
              <a:gd name="connsiteX0" fmla="*/ 588166 w 4647660"/>
              <a:gd name="connsiteY0" fmla="*/ 0 h 4945656"/>
              <a:gd name="connsiteX1" fmla="*/ 4642814 w 4647660"/>
              <a:gd name="connsiteY1" fmla="*/ 0 h 4945656"/>
              <a:gd name="connsiteX2" fmla="*/ 4647660 w 4647660"/>
              <a:gd name="connsiteY2" fmla="*/ 4945656 h 4945656"/>
              <a:gd name="connsiteX3" fmla="*/ 955205 w 4647660"/>
              <a:gd name="connsiteY3" fmla="*/ 4945656 h 4945656"/>
              <a:gd name="connsiteX4" fmla="*/ 786241 w 4647660"/>
              <a:gd name="connsiteY4" fmla="*/ 4695345 h 4945656"/>
              <a:gd name="connsiteX5" fmla="*/ 588166 w 4647660"/>
              <a:gd name="connsiteY5" fmla="*/ 0 h 4945656"/>
              <a:gd name="connsiteX0" fmla="*/ 588166 w 4647660"/>
              <a:gd name="connsiteY0" fmla="*/ 0 h 4948098"/>
              <a:gd name="connsiteX1" fmla="*/ 4642814 w 4647660"/>
              <a:gd name="connsiteY1" fmla="*/ 0 h 4948098"/>
              <a:gd name="connsiteX2" fmla="*/ 4647660 w 4647660"/>
              <a:gd name="connsiteY2" fmla="*/ 4948098 h 4948098"/>
              <a:gd name="connsiteX3" fmla="*/ 955205 w 4647660"/>
              <a:gd name="connsiteY3" fmla="*/ 4945656 h 4948098"/>
              <a:gd name="connsiteX4" fmla="*/ 786241 w 4647660"/>
              <a:gd name="connsiteY4" fmla="*/ 4695345 h 4948098"/>
              <a:gd name="connsiteX5" fmla="*/ 588166 w 4647660"/>
              <a:gd name="connsiteY5" fmla="*/ 0 h 4948098"/>
              <a:gd name="connsiteX0" fmla="*/ 588166 w 4647660"/>
              <a:gd name="connsiteY0" fmla="*/ 0 h 4948099"/>
              <a:gd name="connsiteX1" fmla="*/ 4642814 w 4647660"/>
              <a:gd name="connsiteY1" fmla="*/ 0 h 4948099"/>
              <a:gd name="connsiteX2" fmla="*/ 4647660 w 4647660"/>
              <a:gd name="connsiteY2" fmla="*/ 4948098 h 4948099"/>
              <a:gd name="connsiteX3" fmla="*/ 957647 w 4647660"/>
              <a:gd name="connsiteY3" fmla="*/ 4948099 h 4948099"/>
              <a:gd name="connsiteX4" fmla="*/ 786241 w 4647660"/>
              <a:gd name="connsiteY4" fmla="*/ 4695345 h 4948099"/>
              <a:gd name="connsiteX5" fmla="*/ 588166 w 4647660"/>
              <a:gd name="connsiteY5" fmla="*/ 0 h 494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7660" h="4948099">
                <a:moveTo>
                  <a:pt x="588166" y="0"/>
                </a:moveTo>
                <a:lnTo>
                  <a:pt x="4642814" y="0"/>
                </a:lnTo>
                <a:cubicBezTo>
                  <a:pt x="4644429" y="1648552"/>
                  <a:pt x="4646045" y="3299546"/>
                  <a:pt x="4647660" y="4948098"/>
                </a:cubicBezTo>
                <a:lnTo>
                  <a:pt x="957647" y="4948099"/>
                </a:lnTo>
                <a:lnTo>
                  <a:pt x="786241" y="4695345"/>
                </a:lnTo>
                <a:cubicBezTo>
                  <a:pt x="-858738" y="2122275"/>
                  <a:pt x="588166" y="0"/>
                  <a:pt x="588166" y="0"/>
                </a:cubicBezTo>
                <a:close/>
              </a:path>
            </a:pathLst>
          </a:custGeom>
        </p:spPr>
        <p:txBody>
          <a:bodyPr wrap="square">
            <a:noAutofit/>
          </a:bodyPr>
          <a:lstStyle>
            <a:lvl1pPr>
              <a:defRPr b="0" i="0">
                <a:solidFill>
                  <a:schemeClr val="bg1"/>
                </a:solidFill>
                <a:latin typeface="+mn-lt"/>
              </a:defRPr>
            </a:lvl1pPr>
          </a:lstStyle>
          <a:p>
            <a:pPr lvl="0"/>
            <a:endParaRPr lang="en-US" noProof="0" dirty="0"/>
          </a:p>
        </p:txBody>
      </p:sp>
      <p:sp>
        <p:nvSpPr>
          <p:cNvPr id="10" name="Google Shape;41;p6"/>
          <p:cNvSpPr txBox="1">
            <a:spLocks noGrp="1"/>
          </p:cNvSpPr>
          <p:nvPr>
            <p:ph type="title"/>
          </p:nvPr>
        </p:nvSpPr>
        <p:spPr>
          <a:xfrm>
            <a:off x="760062" y="1296782"/>
            <a:ext cx="4783993" cy="1318672"/>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2400"/>
              <a:buNone/>
              <a:defRPr sz="4000" b="1" i="0">
                <a:solidFill>
                  <a:schemeClr val="bg1"/>
                </a:solidFill>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endParaRPr/>
          </a:p>
        </p:txBody>
      </p:sp>
      <p:sp>
        <p:nvSpPr>
          <p:cNvPr id="11" name="Google Shape;42;p6"/>
          <p:cNvSpPr txBox="1">
            <a:spLocks noGrp="1"/>
          </p:cNvSpPr>
          <p:nvPr>
            <p:ph type="subTitle" idx="1"/>
          </p:nvPr>
        </p:nvSpPr>
        <p:spPr>
          <a:xfrm>
            <a:off x="760063" y="3043602"/>
            <a:ext cx="3894400" cy="770800"/>
          </a:xfrm>
          <a:prstGeom prst="rect">
            <a:avLst/>
          </a:prstGeom>
        </p:spPr>
        <p:txBody>
          <a:bodyPr spcFirstLastPara="1" wrap="square" lIns="91425" tIns="91425" rIns="91425" bIns="91425" anchor="t" anchorCtr="0">
            <a:noAutofit/>
          </a:bodyPr>
          <a:lstStyle>
            <a:lvl1pPr marL="0" lvl="0" rtl="0">
              <a:spcBef>
                <a:spcPts val="0"/>
              </a:spcBef>
              <a:spcAft>
                <a:spcPts val="0"/>
              </a:spcAft>
              <a:buNone/>
              <a:defRPr sz="1867" b="0" i="0">
                <a:solidFill>
                  <a:schemeClr val="bg1"/>
                </a:solidFill>
                <a:latin typeface="+mn-l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Tree>
    <p:extLst>
      <p:ext uri="{BB962C8B-B14F-4D97-AF65-F5344CB8AC3E}">
        <p14:creationId xmlns:p14="http://schemas.microsoft.com/office/powerpoint/2010/main" val="2688881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555477-8C57-444D-A263-8CB085C9B883}"/>
              </a:ext>
            </a:extLst>
          </p:cNvPr>
          <p:cNvGraphicFramePr>
            <a:graphicFrameLocks noChangeAspect="1"/>
          </p:cNvGraphicFramePr>
          <p:nvPr userDrawn="1">
            <p:custDataLst>
              <p:tags r:id="rId1"/>
            </p:custData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2D555477-8C57-444D-A263-8CB085C9B883}"/>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sp>
        <p:nvSpPr>
          <p:cNvPr id="6" name="Graphic 38">
            <a:extLst>
              <a:ext uri="{FF2B5EF4-FFF2-40B4-BE49-F238E27FC236}">
                <a16:creationId xmlns:a16="http://schemas.microsoft.com/office/drawing/2014/main" id="{16A9618C-5741-E342-AC9D-3BB864A090CD}"/>
              </a:ext>
            </a:extLst>
          </p:cNvPr>
          <p:cNvSpPr/>
          <p:nvPr userDrawn="1"/>
        </p:nvSpPr>
        <p:spPr>
          <a:xfrm>
            <a:off x="7797801" y="1769746"/>
            <a:ext cx="3704167" cy="4667250"/>
          </a:xfrm>
          <a:custGeom>
            <a:avLst/>
            <a:gdLst>
              <a:gd name="connsiteX0" fmla="*/ 0 w 3704496"/>
              <a:gd name="connsiteY0" fmla="*/ 4213696 h 4213695"/>
              <a:gd name="connsiteX1" fmla="*/ 1052824 w 3704496"/>
              <a:gd name="connsiteY1" fmla="*/ 0 h 4213695"/>
              <a:gd name="connsiteX2" fmla="*/ 3704497 w 3704496"/>
              <a:gd name="connsiteY2" fmla="*/ 0 h 4213695"/>
              <a:gd name="connsiteX3" fmla="*/ 3704497 w 3704496"/>
              <a:gd name="connsiteY3" fmla="*/ 4213696 h 4213695"/>
              <a:gd name="connsiteX4" fmla="*/ 0 w 3704496"/>
              <a:gd name="connsiteY4" fmla="*/ 4213696 h 4213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496" h="4213695">
                <a:moveTo>
                  <a:pt x="0" y="4213696"/>
                </a:moveTo>
                <a:lnTo>
                  <a:pt x="1052824" y="0"/>
                </a:lnTo>
                <a:lnTo>
                  <a:pt x="3704497" y="0"/>
                </a:lnTo>
                <a:lnTo>
                  <a:pt x="3704497" y="4213696"/>
                </a:lnTo>
                <a:lnTo>
                  <a:pt x="0" y="4213696"/>
                </a:lnTo>
                <a:close/>
              </a:path>
            </a:pathLst>
          </a:custGeom>
          <a:gradFill>
            <a:gsLst>
              <a:gs pos="0">
                <a:srgbClr val="1F6898">
                  <a:alpha val="40000"/>
                </a:srgbClr>
              </a:gs>
              <a:gs pos="100000">
                <a:srgbClr val="FFFFFF">
                  <a:shade val="100000"/>
                  <a:satMod val="115000"/>
                </a:srgbClr>
              </a:gs>
            </a:gsLst>
            <a:lin ang="16800000" scaled="0"/>
          </a:gradFill>
          <a:ln w="5665" cap="flat">
            <a:noFill/>
            <a:prstDash val="solid"/>
            <a:miter/>
          </a:ln>
        </p:spPr>
        <p:txBody>
          <a:bodyPr anchor="ctr"/>
          <a:lstStyle/>
          <a:p>
            <a:pPr eaLnBrk="1" fontAlgn="auto" hangingPunct="1">
              <a:spcBef>
                <a:spcPts val="0"/>
              </a:spcBef>
              <a:spcAft>
                <a:spcPts val="0"/>
              </a:spcAft>
              <a:defRPr/>
            </a:pPr>
            <a:endParaRPr lang="en-US" sz="1404" dirty="0">
              <a:latin typeface="Ellab Sans" panose="02000503000000020004" pitchFamily="2" charset="0"/>
            </a:endParaRPr>
          </a:p>
        </p:txBody>
      </p:sp>
      <p:cxnSp>
        <p:nvCxnSpPr>
          <p:cNvPr id="7" name="Google Shape;44;p6">
            <a:extLst>
              <a:ext uri="{FF2B5EF4-FFF2-40B4-BE49-F238E27FC236}">
                <a16:creationId xmlns:a16="http://schemas.microsoft.com/office/drawing/2014/main" id="{769E93DA-8416-3D4A-859E-9655202C9C6A}"/>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2" name="Picture Placeholder 59"/>
          <p:cNvSpPr>
            <a:spLocks noGrp="1"/>
          </p:cNvSpPr>
          <p:nvPr>
            <p:ph type="pic" sz="quarter" idx="15"/>
          </p:nvPr>
        </p:nvSpPr>
        <p:spPr>
          <a:xfrm>
            <a:off x="8099949" y="1772406"/>
            <a:ext cx="4092055" cy="4664836"/>
          </a:xfrm>
          <a:custGeom>
            <a:avLst/>
            <a:gdLst>
              <a:gd name="connsiteX0" fmla="*/ 751121 w 4092054"/>
              <a:gd name="connsiteY0" fmla="*/ 0 h 4664835"/>
              <a:gd name="connsiteX1" fmla="*/ 4092054 w 4092054"/>
              <a:gd name="connsiteY1" fmla="*/ 0 h 4664835"/>
              <a:gd name="connsiteX2" fmla="*/ 4092054 w 4092054"/>
              <a:gd name="connsiteY2" fmla="*/ 4664835 h 4664835"/>
              <a:gd name="connsiteX3" fmla="*/ 0 w 4092054"/>
              <a:gd name="connsiteY3" fmla="*/ 4664835 h 4664835"/>
            </a:gdLst>
            <a:ahLst/>
            <a:cxnLst>
              <a:cxn ang="0">
                <a:pos x="connsiteX0" y="connsiteY0"/>
              </a:cxn>
              <a:cxn ang="0">
                <a:pos x="connsiteX1" y="connsiteY1"/>
              </a:cxn>
              <a:cxn ang="0">
                <a:pos x="connsiteX2" y="connsiteY2"/>
              </a:cxn>
              <a:cxn ang="0">
                <a:pos x="connsiteX3" y="connsiteY3"/>
              </a:cxn>
            </a:cxnLst>
            <a:rect l="l" t="t" r="r" b="b"/>
            <a:pathLst>
              <a:path w="4092054" h="4664835">
                <a:moveTo>
                  <a:pt x="751121" y="0"/>
                </a:moveTo>
                <a:lnTo>
                  <a:pt x="4092054" y="0"/>
                </a:lnTo>
                <a:lnTo>
                  <a:pt x="4092054" y="4664835"/>
                </a:lnTo>
                <a:lnTo>
                  <a:pt x="0" y="4664835"/>
                </a:lnTo>
                <a:close/>
              </a:path>
            </a:pathLst>
          </a:custGeom>
        </p:spPr>
        <p:txBody>
          <a:bodyPr wrap="square">
            <a:noAutofit/>
          </a:bodyPr>
          <a:lstStyle>
            <a:lvl1pPr>
              <a:defRPr b="0" i="0">
                <a:latin typeface="+mn-lt"/>
              </a:defRPr>
            </a:lvl1pPr>
          </a:lstStyle>
          <a:p>
            <a:pPr lvl="0"/>
            <a:r>
              <a:rPr lang="en-US" noProof="0"/>
              <a:t>Click icon to add picture</a:t>
            </a:r>
            <a:endParaRPr lang="en-US" noProof="0" dirty="0"/>
          </a:p>
        </p:txBody>
      </p:sp>
      <p:sp>
        <p:nvSpPr>
          <p:cNvPr id="13" name="Google Shape;30;p4"/>
          <p:cNvSpPr txBox="1">
            <a:spLocks noGrp="1"/>
          </p:cNvSpPr>
          <p:nvPr>
            <p:ph type="title"/>
          </p:nvPr>
        </p:nvSpPr>
        <p:spPr>
          <a:xfrm>
            <a:off x="813783" y="603507"/>
            <a:ext cx="7081600" cy="49377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a:p>
        </p:txBody>
      </p:sp>
      <p:sp>
        <p:nvSpPr>
          <p:cNvPr id="14" name="Text Placeholder 3"/>
          <p:cNvSpPr>
            <a:spLocks noGrp="1"/>
          </p:cNvSpPr>
          <p:nvPr>
            <p:ph type="body" sz="quarter" idx="10"/>
          </p:nvPr>
        </p:nvSpPr>
        <p:spPr>
          <a:xfrm>
            <a:off x="813781" y="1323335"/>
            <a:ext cx="7080251"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5" name="Text Placeholder 2"/>
          <p:cNvSpPr>
            <a:spLocks noGrp="1"/>
          </p:cNvSpPr>
          <p:nvPr>
            <p:ph type="body" sz="quarter" idx="11"/>
          </p:nvPr>
        </p:nvSpPr>
        <p:spPr>
          <a:xfrm>
            <a:off x="813781" y="1769224"/>
            <a:ext cx="7080251"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05017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98F8CC-9094-40E5-82CF-866292A5DDCA}"/>
              </a:ext>
            </a:extLst>
          </p:cNvPr>
          <p:cNvGraphicFramePr>
            <a:graphicFrameLocks noChangeAspect="1"/>
          </p:cNvGraphicFramePr>
          <p:nvPr userDrawn="1">
            <p:custDataLst>
              <p:tags r:id="rId1"/>
            </p:custDataLst>
          </p:nvPr>
        </p:nvGraphicFramePr>
        <p:xfrm>
          <a:off x="2118" y="1905"/>
          <a:ext cx="2117" cy="190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6398F8CC-9094-40E5-82CF-866292A5DDCA}"/>
                          </a:ext>
                        </a:extLst>
                      </p:cNvPr>
                      <p:cNvPicPr/>
                      <p:nvPr/>
                    </p:nvPicPr>
                    <p:blipFill>
                      <a:blip r:embed="rId4"/>
                      <a:stretch>
                        <a:fillRect/>
                      </a:stretch>
                    </p:blipFill>
                    <p:spPr>
                      <a:xfrm>
                        <a:off x="2118" y="1905"/>
                        <a:ext cx="2117" cy="1906"/>
                      </a:xfrm>
                      <a:prstGeom prst="rect">
                        <a:avLst/>
                      </a:prstGeom>
                    </p:spPr>
                  </p:pic>
                </p:oleObj>
              </mc:Fallback>
            </mc:AlternateContent>
          </a:graphicData>
        </a:graphic>
      </p:graphicFrame>
      <p:cxnSp>
        <p:nvCxnSpPr>
          <p:cNvPr id="5" name="Google Shape;44;p6">
            <a:extLst>
              <a:ext uri="{FF2B5EF4-FFF2-40B4-BE49-F238E27FC236}">
                <a16:creationId xmlns:a16="http://schemas.microsoft.com/office/drawing/2014/main" id="{0B8AFFC2-1746-1441-B457-2F1810CF5E02}"/>
              </a:ext>
            </a:extLst>
          </p:cNvPr>
          <p:cNvCxnSpPr>
            <a:cxnSpLocks noChangeShapeType="1"/>
          </p:cNvCxnSpPr>
          <p:nvPr userDrawn="1"/>
        </p:nvCxnSpPr>
        <p:spPr bwMode="auto">
          <a:xfrm>
            <a:off x="903818" y="1162050"/>
            <a:ext cx="901700" cy="0"/>
          </a:xfrm>
          <a:prstGeom prst="straightConnector1">
            <a:avLst/>
          </a:prstGeom>
          <a:noFill/>
          <a:ln w="76200">
            <a:solidFill>
              <a:schemeClr val="accent1"/>
            </a:solidFill>
            <a:round/>
            <a:headEnd/>
            <a:tailEnd/>
          </a:ln>
          <a:extLst>
            <a:ext uri="{909E8E84-426E-40DD-AFC4-6F175D3DCCD1}">
              <a14:hiddenFill xmlns:a14="http://schemas.microsoft.com/office/drawing/2010/main">
                <a:noFill/>
              </a14:hiddenFill>
            </a:ext>
          </a:extLst>
        </p:spPr>
      </p:cxnSp>
      <p:sp>
        <p:nvSpPr>
          <p:cNvPr id="11" name="Google Shape;30;p4"/>
          <p:cNvSpPr txBox="1">
            <a:spLocks noGrp="1"/>
          </p:cNvSpPr>
          <p:nvPr>
            <p:ph type="title"/>
          </p:nvPr>
        </p:nvSpPr>
        <p:spPr>
          <a:xfrm>
            <a:off x="813783" y="603507"/>
            <a:ext cx="9277917" cy="493775"/>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None/>
              <a:defRPr sz="2880" b="1" i="0">
                <a:latin typeface="+mj-lt"/>
              </a:defRPr>
            </a:lvl1pPr>
            <a:lvl2pPr lvl="1" rtl="0">
              <a:spcBef>
                <a:spcPts val="0"/>
              </a:spcBef>
              <a:spcAft>
                <a:spcPts val="0"/>
              </a:spcAft>
              <a:buClr>
                <a:schemeClr val="lt1"/>
              </a:buClr>
              <a:buSzPts val="4000"/>
              <a:buNone/>
              <a:defRPr sz="5333">
                <a:solidFill>
                  <a:schemeClr val="lt1"/>
                </a:solidFill>
              </a:defRPr>
            </a:lvl2pPr>
            <a:lvl3pPr lvl="2" rtl="0">
              <a:spcBef>
                <a:spcPts val="0"/>
              </a:spcBef>
              <a:spcAft>
                <a:spcPts val="0"/>
              </a:spcAft>
              <a:buClr>
                <a:schemeClr val="lt1"/>
              </a:buClr>
              <a:buSzPts val="4000"/>
              <a:buNone/>
              <a:defRPr sz="5333">
                <a:solidFill>
                  <a:schemeClr val="lt1"/>
                </a:solidFill>
              </a:defRPr>
            </a:lvl3pPr>
            <a:lvl4pPr lvl="3" rtl="0">
              <a:spcBef>
                <a:spcPts val="0"/>
              </a:spcBef>
              <a:spcAft>
                <a:spcPts val="0"/>
              </a:spcAft>
              <a:buClr>
                <a:schemeClr val="lt1"/>
              </a:buClr>
              <a:buSzPts val="4000"/>
              <a:buNone/>
              <a:defRPr sz="5333">
                <a:solidFill>
                  <a:schemeClr val="lt1"/>
                </a:solidFill>
              </a:defRPr>
            </a:lvl4pPr>
            <a:lvl5pPr lvl="4" rtl="0">
              <a:spcBef>
                <a:spcPts val="0"/>
              </a:spcBef>
              <a:spcAft>
                <a:spcPts val="0"/>
              </a:spcAft>
              <a:buClr>
                <a:schemeClr val="lt1"/>
              </a:buClr>
              <a:buSzPts val="4000"/>
              <a:buNone/>
              <a:defRPr sz="5333">
                <a:solidFill>
                  <a:schemeClr val="lt1"/>
                </a:solidFill>
              </a:defRPr>
            </a:lvl5pPr>
            <a:lvl6pPr lvl="5" rtl="0">
              <a:spcBef>
                <a:spcPts val="0"/>
              </a:spcBef>
              <a:spcAft>
                <a:spcPts val="0"/>
              </a:spcAft>
              <a:buClr>
                <a:schemeClr val="lt1"/>
              </a:buClr>
              <a:buSzPts val="4000"/>
              <a:buNone/>
              <a:defRPr sz="5333">
                <a:solidFill>
                  <a:schemeClr val="lt1"/>
                </a:solidFill>
              </a:defRPr>
            </a:lvl6pPr>
            <a:lvl7pPr lvl="6" rtl="0">
              <a:spcBef>
                <a:spcPts val="0"/>
              </a:spcBef>
              <a:spcAft>
                <a:spcPts val="0"/>
              </a:spcAft>
              <a:buClr>
                <a:schemeClr val="lt1"/>
              </a:buClr>
              <a:buSzPts val="4000"/>
              <a:buNone/>
              <a:defRPr sz="5333">
                <a:solidFill>
                  <a:schemeClr val="lt1"/>
                </a:solidFill>
              </a:defRPr>
            </a:lvl7pPr>
            <a:lvl8pPr lvl="7" rtl="0">
              <a:spcBef>
                <a:spcPts val="0"/>
              </a:spcBef>
              <a:spcAft>
                <a:spcPts val="0"/>
              </a:spcAft>
              <a:buClr>
                <a:schemeClr val="lt1"/>
              </a:buClr>
              <a:buSzPts val="4000"/>
              <a:buNone/>
              <a:defRPr sz="5333">
                <a:solidFill>
                  <a:schemeClr val="lt1"/>
                </a:solidFill>
              </a:defRPr>
            </a:lvl8pPr>
            <a:lvl9pPr lvl="8" rtl="0">
              <a:spcBef>
                <a:spcPts val="0"/>
              </a:spcBef>
              <a:spcAft>
                <a:spcPts val="0"/>
              </a:spcAft>
              <a:buClr>
                <a:schemeClr val="lt1"/>
              </a:buClr>
              <a:buSzPts val="4000"/>
              <a:buNone/>
              <a:defRPr sz="5333">
                <a:solidFill>
                  <a:schemeClr val="lt1"/>
                </a:solidFill>
              </a:defRPr>
            </a:lvl9pPr>
          </a:lstStyle>
          <a:p>
            <a:r>
              <a:rPr lang="en-US"/>
              <a:t>Click to edit Master title style</a:t>
            </a:r>
            <a:endParaRPr dirty="0"/>
          </a:p>
        </p:txBody>
      </p:sp>
      <p:sp>
        <p:nvSpPr>
          <p:cNvPr id="12" name="Text Placeholder 3"/>
          <p:cNvSpPr>
            <a:spLocks noGrp="1"/>
          </p:cNvSpPr>
          <p:nvPr>
            <p:ph type="body" sz="quarter" idx="10"/>
          </p:nvPr>
        </p:nvSpPr>
        <p:spPr>
          <a:xfrm>
            <a:off x="813782" y="1323335"/>
            <a:ext cx="9276149" cy="283955"/>
          </a:xfrm>
          <a:prstGeom prst="rect">
            <a:avLst/>
          </a:prstGeom>
        </p:spPr>
        <p:txBody>
          <a:bodyPr/>
          <a:lstStyle>
            <a:lvl1pPr>
              <a:buNone/>
              <a:defRPr sz="1400" b="1" i="0">
                <a:solidFill>
                  <a:schemeClr val="bg2">
                    <a:lumMod val="10000"/>
                  </a:schemeClr>
                </a:solidFill>
                <a:latin typeface="+mj-lt"/>
              </a:defRPr>
            </a:lvl1pPr>
          </a:lstStyle>
          <a:p>
            <a:pPr lvl="0"/>
            <a:r>
              <a:rPr lang="en-US"/>
              <a:t>Click to edit Master text styles</a:t>
            </a:r>
          </a:p>
        </p:txBody>
      </p:sp>
      <p:sp>
        <p:nvSpPr>
          <p:cNvPr id="13" name="Text Placeholder 2"/>
          <p:cNvSpPr>
            <a:spLocks noGrp="1"/>
          </p:cNvSpPr>
          <p:nvPr>
            <p:ph type="body" sz="quarter" idx="11"/>
          </p:nvPr>
        </p:nvSpPr>
        <p:spPr>
          <a:xfrm>
            <a:off x="813781" y="1769224"/>
            <a:ext cx="10789640" cy="4801444"/>
          </a:xfrm>
          <a:prstGeom prst="rect">
            <a:avLst/>
          </a:prstGeom>
        </p:spPr>
        <p:txBody>
          <a:bodyPr/>
          <a:lstStyle>
            <a:lvl1pPr>
              <a:buNone/>
              <a:defRPr sz="1920" b="1" i="0">
                <a:latin typeface="+mj-lt"/>
              </a:defRPr>
            </a:lvl1pPr>
            <a:lvl2pPr marL="361796">
              <a:buClr>
                <a:srgbClr val="1F6898"/>
              </a:buClr>
              <a:buSzPct val="80000"/>
              <a:defRPr sz="1440" b="0" i="0">
                <a:solidFill>
                  <a:schemeClr val="bg2">
                    <a:lumMod val="10000"/>
                  </a:schemeClr>
                </a:solidFill>
                <a:latin typeface="+mn-lt"/>
              </a:defRPr>
            </a:lvl2pPr>
            <a:lvl3pPr marL="719993">
              <a:buClr>
                <a:srgbClr val="1F6898"/>
              </a:buClr>
              <a:buSzPct val="80000"/>
              <a:defRPr sz="1440" b="0" i="0">
                <a:solidFill>
                  <a:schemeClr val="bg2">
                    <a:lumMod val="10000"/>
                  </a:schemeClr>
                </a:solidFill>
                <a:latin typeface="+mn-lt"/>
              </a:defRPr>
            </a:lvl3pPr>
            <a:lvl4pPr marL="1079989">
              <a:buClr>
                <a:srgbClr val="1F6898"/>
              </a:buClr>
              <a:buSzPct val="80000"/>
              <a:defRPr sz="1440" b="0" i="0">
                <a:solidFill>
                  <a:schemeClr val="bg2">
                    <a:lumMod val="10000"/>
                  </a:schemeClr>
                </a:solidFill>
                <a:latin typeface="+mn-lt"/>
              </a:defRPr>
            </a:lvl4pPr>
            <a:lvl5pPr marL="1439986">
              <a:buClr>
                <a:srgbClr val="1F6898"/>
              </a:buClr>
              <a:buSzPct val="80000"/>
              <a:defRPr sz="1440" b="0" i="0">
                <a:solidFill>
                  <a:schemeClr val="bg2">
                    <a:lumMod val="1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36219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reaker slide dark blue">
    <p:bg>
      <p:bgPr>
        <a:solidFill>
          <a:schemeClr val="tx2"/>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5222748" y="693053"/>
            <a:ext cx="1746504" cy="5151082"/>
          </a:xfrm>
          <a:prstGeom prst="rect">
            <a:avLst/>
          </a:prstGeom>
        </p:spPr>
      </p:pic>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dirty="0"/>
              <a:t>Body Text</a:t>
            </a:r>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dirty="0"/>
              <a:t>Subtitle</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dirty="0"/>
              <a:t>Insert Your Title Here</a:t>
            </a:r>
          </a:p>
        </p:txBody>
      </p:sp>
      <p:pic>
        <p:nvPicPr>
          <p:cNvPr id="4" name="Billede 5">
            <a:extLst>
              <a:ext uri="{FF2B5EF4-FFF2-40B4-BE49-F238E27FC236}">
                <a16:creationId xmlns:a16="http://schemas.microsoft.com/office/drawing/2014/main" id="{5448ED32-B925-AA4A-EF8E-139E026961B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5952347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reaker slide cya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BE42792-7D13-C021-931E-6B6395283508}"/>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5222748" y="693053"/>
            <a:ext cx="1746504" cy="5151082"/>
          </a:xfrm>
          <a:prstGeom prst="rect">
            <a:avLst/>
          </a:prstGeom>
        </p:spPr>
      </p:pic>
      <p:sp>
        <p:nvSpPr>
          <p:cNvPr id="2" name="Pladsholder til tekst 3"/>
          <p:cNvSpPr>
            <a:spLocks noGrp="1"/>
          </p:cNvSpPr>
          <p:nvPr>
            <p:ph type="body" sz="half" idx="10" hasCustomPrompt="1"/>
          </p:nvPr>
        </p:nvSpPr>
        <p:spPr>
          <a:xfrm>
            <a:off x="371475" y="3868069"/>
            <a:ext cx="4237101" cy="205184"/>
          </a:xfrm>
        </p:spPr>
        <p:txBody>
          <a:bodyPr wrap="square">
            <a:spAutoFit/>
          </a:bodyPr>
          <a:lstStyle>
            <a:lvl1pPr marL="0" indent="0">
              <a:lnSpc>
                <a:spcPts val="1600"/>
              </a:lnSpc>
              <a:buNone/>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Body </a:t>
            </a:r>
            <a:r>
              <a:rPr lang="da-DK" dirty="0" err="1"/>
              <a:t>text</a:t>
            </a:r>
            <a:endParaRPr lang="da-DK" dirty="0"/>
          </a:p>
        </p:txBody>
      </p:sp>
      <p:sp>
        <p:nvSpPr>
          <p:cNvPr id="27" name="Pladsholder til tekst 3"/>
          <p:cNvSpPr>
            <a:spLocks noGrp="1"/>
          </p:cNvSpPr>
          <p:nvPr>
            <p:ph type="body" sz="half" idx="2" hasCustomPrompt="1"/>
          </p:nvPr>
        </p:nvSpPr>
        <p:spPr>
          <a:xfrm>
            <a:off x="371475" y="3026546"/>
            <a:ext cx="4237101" cy="314510"/>
          </a:xfrm>
        </p:spPr>
        <p:txBody>
          <a:bodyPr wrap="square">
            <a:spAutoFit/>
          </a:bodyPr>
          <a:lstStyle>
            <a:lvl1pPr marL="0" indent="0">
              <a:lnSpc>
                <a:spcPts val="2600"/>
              </a:lnSpc>
              <a:buNone/>
              <a:defRPr sz="2100" b="1">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err="1"/>
              <a:t>Subtitle</a:t>
            </a:r>
            <a:endParaRPr lang="da-DK" dirty="0"/>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59999" y="1728000"/>
            <a:ext cx="4248577" cy="1102866"/>
          </a:xfrm>
        </p:spPr>
        <p:txBody>
          <a:bodyPr wrap="square">
            <a:spAutoFit/>
          </a:bodyPr>
          <a:lstStyle>
            <a:lvl1pPr>
              <a:defRPr>
                <a:solidFill>
                  <a:schemeClr val="bg1"/>
                </a:solidFill>
              </a:defRPr>
            </a:lvl1pPr>
          </a:lstStyle>
          <a:p>
            <a:r>
              <a:rPr lang="en-US" noProof="0" dirty="0"/>
              <a:t>Insert Your Title Here</a:t>
            </a:r>
            <a:endParaRPr lang="da-DK" dirty="0"/>
          </a:p>
        </p:txBody>
      </p:sp>
      <p:pic>
        <p:nvPicPr>
          <p:cNvPr id="7" name="Billede 1">
            <a:extLst>
              <a:ext uri="{FF2B5EF4-FFF2-40B4-BE49-F238E27FC236}">
                <a16:creationId xmlns:a16="http://schemas.microsoft.com/office/drawing/2014/main" id="{A42DB8ED-5D3C-6FA8-0BBF-D50FE7DAEBF7}"/>
              </a:ext>
            </a:extLst>
          </p:cNvPr>
          <p:cNvPicPr>
            <a:picLocks noChangeAspect="1" noChangeArrowheads="1"/>
          </p:cNvPicPr>
          <p:nvPr userDrawn="1"/>
        </p:nvPicPr>
        <p:blipFill>
          <a:blip r:embed="rId5"/>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lede 5">
            <a:extLst>
              <a:ext uri="{FF2B5EF4-FFF2-40B4-BE49-F238E27FC236}">
                <a16:creationId xmlns:a16="http://schemas.microsoft.com/office/drawing/2014/main" id="{0C08EC35-69EE-AD1E-CB40-57F679FBF14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32073998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slide 1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dirty="0"/>
              <a:t>Insert Your Title Here</a:t>
            </a:r>
            <a:br>
              <a:rPr lang="en-US" noProof="0" dirty="0"/>
            </a:br>
            <a:r>
              <a:rPr lang="en-US" noProof="0" dirty="0"/>
              <a:t>Up to </a:t>
            </a:r>
            <a:br>
              <a:rPr lang="en-US" noProof="0" dirty="0"/>
            </a:br>
            <a:r>
              <a:rPr lang="en-US" noProof="0" dirty="0"/>
              <a:t>3 lines</a:t>
            </a:r>
            <a:endParaRPr lang="da-DK" dirty="0"/>
          </a:p>
        </p:txBody>
      </p:sp>
      <p:sp>
        <p:nvSpPr>
          <p:cNvPr id="2" name="Pladsholder til tekst 3">
            <a:extLst>
              <a:ext uri="{FF2B5EF4-FFF2-40B4-BE49-F238E27FC236}">
                <a16:creationId xmlns:a16="http://schemas.microsoft.com/office/drawing/2014/main" id="{4137AC0D-7540-76C8-C1AE-A09D24A2CA8A}"/>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pic>
        <p:nvPicPr>
          <p:cNvPr id="4" name="Billede 5">
            <a:extLst>
              <a:ext uri="{FF2B5EF4-FFF2-40B4-BE49-F238E27FC236}">
                <a16:creationId xmlns:a16="http://schemas.microsoft.com/office/drawing/2014/main" id="{32ADEE3F-41B3-E072-2393-677D26B9C47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286901820"/>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slide 2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dirty="0"/>
              <a:t>Insert Your Title Here</a:t>
            </a:r>
            <a:br>
              <a:rPr lang="en-US" noProof="0" dirty="0"/>
            </a:br>
            <a:r>
              <a:rPr lang="en-US" noProof="0" dirty="0"/>
              <a:t>Up to </a:t>
            </a:r>
            <a:br>
              <a:rPr lang="en-US" noProof="0" dirty="0"/>
            </a:br>
            <a:r>
              <a:rPr lang="en-US" noProof="0" dirty="0"/>
              <a:t>3 lines</a:t>
            </a:r>
            <a:endParaRPr lang="da-DK" dirty="0"/>
          </a:p>
        </p:txBody>
      </p:sp>
      <p:sp>
        <p:nvSpPr>
          <p:cNvPr id="2" name="Pladsholder til tekst 3">
            <a:extLst>
              <a:ext uri="{FF2B5EF4-FFF2-40B4-BE49-F238E27FC236}">
                <a16:creationId xmlns:a16="http://schemas.microsoft.com/office/drawing/2014/main" id="{29B56DD9-5B8D-56AE-78E5-C66BDAE7814B}"/>
              </a:ext>
            </a:extLst>
          </p:cNvPr>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pic>
        <p:nvPicPr>
          <p:cNvPr id="4" name="Billede 5">
            <a:extLst>
              <a:ext uri="{FF2B5EF4-FFF2-40B4-BE49-F238E27FC236}">
                <a16:creationId xmlns:a16="http://schemas.microsoft.com/office/drawing/2014/main" id="{D4BDF3EF-1FCD-1E2C-99AF-BEF35A92BD1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862924041"/>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slide 3 + agenda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3821950"/>
            <a:ext cx="5724525" cy="205184"/>
          </a:xfrm>
        </p:spPr>
        <p:txBody>
          <a:bodyPr wrap="square">
            <a:spAutoFit/>
          </a:bodyPr>
          <a:lstStyle>
            <a:lvl1pPr marL="285750" indent="-285750">
              <a:lnSpc>
                <a:spcPts val="1600"/>
              </a:lnSpc>
              <a:buClr>
                <a:schemeClr val="tx2"/>
              </a:buClr>
              <a:buSzPct val="120000"/>
              <a:buFont typeface="Arial" panose="020B0604020202020204" pitchFamily="34" charset="0"/>
              <a:buChar char="•"/>
              <a:defRPr sz="1400" b="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1728000"/>
            <a:ext cx="5736000" cy="1654299"/>
          </a:xfrm>
        </p:spPr>
        <p:txBody>
          <a:bodyPr wrap="square">
            <a:spAutoFit/>
          </a:bodyPr>
          <a:lstStyle>
            <a:lvl1pPr>
              <a:defRPr>
                <a:solidFill>
                  <a:schemeClr val="bg1"/>
                </a:solidFill>
              </a:defRPr>
            </a:lvl1pPr>
          </a:lstStyle>
          <a:p>
            <a:r>
              <a:rPr lang="en-US" noProof="0" dirty="0"/>
              <a:t>Insert Your Title Here</a:t>
            </a:r>
            <a:br>
              <a:rPr lang="en-US" noProof="0" dirty="0"/>
            </a:br>
            <a:r>
              <a:rPr lang="en-US" noProof="0" dirty="0"/>
              <a:t>Up to </a:t>
            </a:r>
            <a:br>
              <a:rPr lang="en-US" noProof="0" dirty="0"/>
            </a:br>
            <a:r>
              <a:rPr lang="en-US" noProof="0" dirty="0"/>
              <a:t>3 lines</a:t>
            </a:r>
            <a:endParaRPr lang="da-DK" dirty="0"/>
          </a:p>
        </p:txBody>
      </p:sp>
      <p:pic>
        <p:nvPicPr>
          <p:cNvPr id="4" name="Billede 5">
            <a:extLst>
              <a:ext uri="{FF2B5EF4-FFF2-40B4-BE49-F238E27FC236}">
                <a16:creationId xmlns:a16="http://schemas.microsoft.com/office/drawing/2014/main" id="{7016FFF3-4074-E198-B0F4-80A26178A06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2348706008"/>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da-DK" dirty="0" err="1"/>
              <a:t>Insert</a:t>
            </a:r>
            <a:r>
              <a:rPr lang="da-DK" dirty="0"/>
              <a:t> </a:t>
            </a:r>
            <a:r>
              <a:rPr lang="da-DK" dirty="0" err="1"/>
              <a:t>Your</a:t>
            </a:r>
            <a:r>
              <a:rPr lang="da-DK" dirty="0"/>
              <a:t> Title Here</a:t>
            </a:r>
          </a:p>
        </p:txBody>
      </p:sp>
    </p:spTree>
    <p:extLst>
      <p:ext uri="{BB962C8B-B14F-4D97-AF65-F5344CB8AC3E}">
        <p14:creationId xmlns:p14="http://schemas.microsoft.com/office/powerpoint/2010/main" val="254620637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lede 1">
            <a:extLst>
              <a:ext uri="{FF2B5EF4-FFF2-40B4-BE49-F238E27FC236}">
                <a16:creationId xmlns:a16="http://schemas.microsoft.com/office/drawing/2014/main" id="{62635703-E52F-71BC-D1F4-BF990A797E69}"/>
              </a:ext>
            </a:extLst>
          </p:cNvPr>
          <p:cNvPicPr>
            <a:picLocks noChangeAspect="1" noChangeArrowheads="1"/>
          </p:cNvPicPr>
          <p:nvPr/>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9">
            <a:extLst>
              <a:ext uri="{FF2B5EF4-FFF2-40B4-BE49-F238E27FC236}">
                <a16:creationId xmlns:a16="http://schemas.microsoft.com/office/drawing/2014/main" id="{971C7391-1C94-64BD-92E9-61CBC1F84BD0}"/>
              </a:ext>
            </a:extLst>
          </p:cNvPr>
          <p:cNvSpPr>
            <a:spLocks noGrp="1"/>
          </p:cNvSpPr>
          <p:nvPr>
            <p:ph type="title" hasCustomPrompt="1"/>
          </p:nvPr>
        </p:nvSpPr>
        <p:spPr>
          <a:xfrm>
            <a:off x="360000" y="944563"/>
            <a:ext cx="11497038" cy="1102866"/>
          </a:xfrm>
        </p:spPr>
        <p:txBody>
          <a:bodyPr wrap="square">
            <a:spAutoFit/>
          </a:bodyPr>
          <a:lstStyle>
            <a:lvl1pPr>
              <a:defRPr>
                <a:solidFill>
                  <a:schemeClr val="bg1"/>
                </a:solidFill>
              </a:defRPr>
            </a:lvl1pPr>
          </a:lstStyle>
          <a:p>
            <a:r>
              <a:rPr lang="en-US" noProof="0" dirty="0"/>
              <a:t>Insert Your Title Here</a:t>
            </a:r>
            <a:br>
              <a:rPr lang="en-US" noProof="0" dirty="0"/>
            </a:br>
            <a:r>
              <a:rPr lang="en-US" noProof="0" dirty="0"/>
              <a:t>Up to 2 lines</a:t>
            </a:r>
            <a:endParaRPr lang="da-DK" dirty="0"/>
          </a:p>
        </p:txBody>
      </p:sp>
      <p:sp>
        <p:nvSpPr>
          <p:cNvPr id="5" name="Pladsholder til medieklip 4">
            <a:extLst>
              <a:ext uri="{FF2B5EF4-FFF2-40B4-BE49-F238E27FC236}">
                <a16:creationId xmlns:a16="http://schemas.microsoft.com/office/drawing/2014/main" id="{59F1AD72-C172-CBE2-C555-993FF5F511DE}"/>
              </a:ext>
            </a:extLst>
          </p:cNvPr>
          <p:cNvSpPr>
            <a:spLocks noGrp="1"/>
          </p:cNvSpPr>
          <p:nvPr>
            <p:ph type="media" sz="quarter" idx="14"/>
          </p:nvPr>
        </p:nvSpPr>
        <p:spPr>
          <a:xfrm>
            <a:off x="2840451" y="2257805"/>
            <a:ext cx="6511098" cy="3896428"/>
          </a:xfrm>
        </p:spPr>
        <p:txBody>
          <a:bodyPr/>
          <a:lstStyle/>
          <a:p>
            <a:r>
              <a:rPr lang="da-DK"/>
              <a:t>Klik på ikonet for at tilføje et medie</a:t>
            </a:r>
          </a:p>
        </p:txBody>
      </p:sp>
      <p:pic>
        <p:nvPicPr>
          <p:cNvPr id="2" name="Billede 5">
            <a:extLst>
              <a:ext uri="{FF2B5EF4-FFF2-40B4-BE49-F238E27FC236}">
                <a16:creationId xmlns:a16="http://schemas.microsoft.com/office/drawing/2014/main" id="{E881B0EB-12D2-9055-F003-E560E963C07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1001279497"/>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 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Billede 1">
            <a:extLst>
              <a:ext uri="{FF2B5EF4-FFF2-40B4-BE49-F238E27FC236}">
                <a16:creationId xmlns:a16="http://schemas.microsoft.com/office/drawing/2014/main" id="{AD0F86D2-6CBC-B132-2F53-416B3C9BD645}"/>
              </a:ext>
            </a:extLst>
          </p:cNvPr>
          <p:cNvPicPr>
            <a:picLocks noChangeAspect="1" noChangeArrowheads="1"/>
          </p:cNvPicPr>
          <p:nvPr userDrawn="1"/>
        </p:nvPicPr>
        <p:blipFill>
          <a:blip r:embed="rId3"/>
          <a:srcRect/>
          <a:stretch/>
        </p:blipFill>
        <p:spPr bwMode="auto">
          <a:xfrm>
            <a:off x="155671" y="192075"/>
            <a:ext cx="549405"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a:hlinkClick r:id="rId4"/>
            <a:extLst>
              <a:ext uri="{FF2B5EF4-FFF2-40B4-BE49-F238E27FC236}">
                <a16:creationId xmlns:a16="http://schemas.microsoft.com/office/drawing/2014/main" id="{C59D8A96-938A-E83F-A089-2B4359555F33}"/>
              </a:ext>
            </a:extLst>
          </p:cNvPr>
          <p:cNvSpPr/>
          <p:nvPr userDrawn="1"/>
        </p:nvSpPr>
        <p:spPr>
          <a:xfrm>
            <a:off x="1725853" y="4426665"/>
            <a:ext cx="2502435" cy="2482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2">
            <a:hlinkClick r:id="rId5"/>
            <a:extLst>
              <a:ext uri="{FF2B5EF4-FFF2-40B4-BE49-F238E27FC236}">
                <a16:creationId xmlns:a16="http://schemas.microsoft.com/office/drawing/2014/main" id="{9226D4BF-70A2-3657-700D-D60918386FCE}"/>
              </a:ext>
            </a:extLst>
          </p:cNvPr>
          <p:cNvSpPr/>
          <p:nvPr userDrawn="1"/>
        </p:nvSpPr>
        <p:spPr>
          <a:xfrm>
            <a:off x="1725853" y="4805464"/>
            <a:ext cx="4000496" cy="278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4" name="Billede 5">
            <a:extLst>
              <a:ext uri="{FF2B5EF4-FFF2-40B4-BE49-F238E27FC236}">
                <a16:creationId xmlns:a16="http://schemas.microsoft.com/office/drawing/2014/main" id="{74F8FD49-2D02-8955-23DE-BA689703FB04}"/>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55576" y="6392545"/>
            <a:ext cx="818506" cy="310770"/>
          </a:xfrm>
          <a:prstGeom prst="rect">
            <a:avLst/>
          </a:prstGeom>
        </p:spPr>
      </p:pic>
    </p:spTree>
    <p:extLst>
      <p:ext uri="{BB962C8B-B14F-4D97-AF65-F5344CB8AC3E}">
        <p14:creationId xmlns:p14="http://schemas.microsoft.com/office/powerpoint/2010/main" val="3500975419"/>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dirty="0"/>
              <a:t>Insert Your Title Here</a:t>
            </a:r>
          </a:p>
        </p:txBody>
      </p:sp>
    </p:spTree>
    <p:extLst>
      <p:ext uri="{BB962C8B-B14F-4D97-AF65-F5344CB8AC3E}">
        <p14:creationId xmlns:p14="http://schemas.microsoft.com/office/powerpoint/2010/main" val="18080825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 4">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8131AF1-63AB-3BE4-572F-86E6886982A5}"/>
              </a:ext>
            </a:extLst>
          </p:cNvPr>
          <p:cNvSpPr>
            <a:spLocks noGrp="1"/>
          </p:cNvSpPr>
          <p:nvPr>
            <p:ph type="title" hasCustomPrompt="1"/>
          </p:nvPr>
        </p:nvSpPr>
        <p:spPr>
          <a:xfrm>
            <a:off x="9132525" y="4852200"/>
            <a:ext cx="2903900" cy="1701000"/>
          </a:xfrm>
        </p:spPr>
        <p:txBody>
          <a:bodyPr/>
          <a:lstStyle>
            <a:lvl1pPr>
              <a:lnSpc>
                <a:spcPts val="3200"/>
              </a:lnSpc>
              <a:defRPr sz="3000">
                <a:solidFill>
                  <a:schemeClr val="bg2"/>
                </a:solidFill>
              </a:defRPr>
            </a:lvl1pPr>
          </a:lstStyle>
          <a:p>
            <a:pPr lvl="0"/>
            <a:r>
              <a:rPr lang="en-US" noProof="0" dirty="0"/>
              <a:t>Insert Your Title Here</a:t>
            </a:r>
          </a:p>
        </p:txBody>
      </p:sp>
    </p:spTree>
    <p:extLst>
      <p:ext uri="{BB962C8B-B14F-4D97-AF65-F5344CB8AC3E}">
        <p14:creationId xmlns:p14="http://schemas.microsoft.com/office/powerpoint/2010/main" val="61139069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dirty="0"/>
              <a:t>Insert Your Title Here</a:t>
            </a:r>
          </a:p>
        </p:txBody>
      </p:sp>
    </p:spTree>
    <p:extLst>
      <p:ext uri="{BB962C8B-B14F-4D97-AF65-F5344CB8AC3E}">
        <p14:creationId xmlns:p14="http://schemas.microsoft.com/office/powerpoint/2010/main" val="38496806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dirty="0"/>
              <a:t>Insert Your Title Here</a:t>
            </a:r>
          </a:p>
        </p:txBody>
      </p:sp>
    </p:spTree>
    <p:extLst>
      <p:ext uri="{BB962C8B-B14F-4D97-AF65-F5344CB8AC3E}">
        <p14:creationId xmlns:p14="http://schemas.microsoft.com/office/powerpoint/2010/main" val="305279792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3">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548BDC-2B65-1D20-133B-D9F1A4E45B16}"/>
              </a:ext>
            </a:extLst>
          </p:cNvPr>
          <p:cNvSpPr>
            <a:spLocks noGrp="1"/>
          </p:cNvSpPr>
          <p:nvPr>
            <p:ph type="title" hasCustomPrompt="1"/>
          </p:nvPr>
        </p:nvSpPr>
        <p:spPr>
          <a:xfrm>
            <a:off x="1439500" y="1119187"/>
            <a:ext cx="2802300" cy="1725613"/>
          </a:xfrm>
        </p:spPr>
        <p:txBody>
          <a:bodyPr/>
          <a:lstStyle>
            <a:lvl1pPr>
              <a:lnSpc>
                <a:spcPts val="3200"/>
              </a:lnSpc>
              <a:defRPr sz="3000">
                <a:solidFill>
                  <a:schemeClr val="bg2"/>
                </a:solidFill>
              </a:defRPr>
            </a:lvl1pPr>
          </a:lstStyle>
          <a:p>
            <a:pPr lvl="0"/>
            <a:r>
              <a:rPr lang="en-US" noProof="0" dirty="0"/>
              <a:t>Insert Your Title Here</a:t>
            </a:r>
          </a:p>
        </p:txBody>
      </p:sp>
    </p:spTree>
    <p:extLst>
      <p:ext uri="{BB962C8B-B14F-4D97-AF65-F5344CB8AC3E}">
        <p14:creationId xmlns:p14="http://schemas.microsoft.com/office/powerpoint/2010/main" val="242877602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hite content slide 1">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4" y="2520000"/>
            <a:ext cx="11485563" cy="3645850"/>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1"/>
            <a:ext cx="11497038" cy="365126"/>
          </a:xfrm>
        </p:spPr>
        <p:txBody>
          <a:bodyPr>
            <a:noAutofit/>
          </a:bodyPr>
          <a:lstStyle>
            <a:lvl1pPr>
              <a:lnSpc>
                <a:spcPts val="3800"/>
              </a:lnSpc>
              <a:defRPr sz="3600"/>
            </a:lvl1pPr>
          </a:lstStyle>
          <a:p>
            <a:r>
              <a:rPr lang="da-DK" dirty="0"/>
              <a:t>Klik for at redigere titeltypografien i masteren</a:t>
            </a:r>
          </a:p>
        </p:txBody>
      </p:sp>
      <p:sp>
        <p:nvSpPr>
          <p:cNvPr id="4" name="Pladsholder til tekst 3">
            <a:extLst>
              <a:ext uri="{FF2B5EF4-FFF2-40B4-BE49-F238E27FC236}">
                <a16:creationId xmlns:a16="http://schemas.microsoft.com/office/drawing/2014/main" id="{29433069-D272-B607-8B74-A7D7FC4E2331}"/>
              </a:ext>
            </a:extLst>
          </p:cNvPr>
          <p:cNvSpPr>
            <a:spLocks noGrp="1"/>
          </p:cNvSpPr>
          <p:nvPr>
            <p:ph type="body" sz="half" idx="2"/>
          </p:nvPr>
        </p:nvSpPr>
        <p:spPr>
          <a:xfrm>
            <a:off x="371476" y="1566000"/>
            <a:ext cx="11485562"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da-DK" dirty="0"/>
          </a:p>
        </p:txBody>
      </p:sp>
      <p:pic>
        <p:nvPicPr>
          <p:cNvPr id="6" name="Billede 5">
            <a:extLst>
              <a:ext uri="{FF2B5EF4-FFF2-40B4-BE49-F238E27FC236}">
                <a16:creationId xmlns:a16="http://schemas.microsoft.com/office/drawing/2014/main" id="{C6876B20-1E4A-5FDF-79AA-90606B7B7E0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02702077"/>
      </p:ext>
    </p:extLst>
  </p:cSld>
  <p:clrMapOvr>
    <a:masterClrMapping/>
  </p:clrMapOvr>
  <p:extLst>
    <p:ext uri="{DCECCB84-F9BA-43D5-87BE-67443E8EF086}">
      <p15:sldGuideLst xmlns:p15="http://schemas.microsoft.com/office/powerpoint/2012/main">
        <p15:guide id="1" orient="horz" pos="4156" userDrawn="1">
          <p15:clr>
            <a:srgbClr val="FBAE40"/>
          </p15:clr>
        </p15:guide>
        <p15:guide id="2" orient="horz" pos="420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content slide 2">
    <p:bg>
      <p:bgPr>
        <a:solidFill>
          <a:schemeClr val="bg1"/>
        </a:solidFill>
        <a:effectLst/>
      </p:bgPr>
    </p:bg>
    <p:spTree>
      <p:nvGrpSpPr>
        <p:cNvPr id="1" name=""/>
        <p:cNvGrpSpPr/>
        <p:nvPr/>
      </p:nvGrpSpPr>
      <p:grpSpPr>
        <a:xfrm>
          <a:off x="0" y="0"/>
          <a:ext cx="0" cy="0"/>
          <a:chOff x="0" y="0"/>
          <a:chExt cx="0" cy="0"/>
        </a:xfrm>
      </p:grpSpPr>
      <p:pic>
        <p:nvPicPr>
          <p:cNvPr id="3" name="Billede 1" descr="Et billede, der indeholder Grafik, Font/skrifttype, grafisk design, logo&#10;&#10;Indhold genereret af kunstig intelligens kan være forkert.">
            <a:extLst>
              <a:ext uri="{FF2B5EF4-FFF2-40B4-BE49-F238E27FC236}">
                <a16:creationId xmlns:a16="http://schemas.microsoft.com/office/drawing/2014/main" id="{62635703-E52F-71BC-D1F4-BF990A797E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2075"/>
            <a:ext cx="549598"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dsholder til tekst 3"/>
          <p:cNvSpPr>
            <a:spLocks noGrp="1"/>
          </p:cNvSpPr>
          <p:nvPr>
            <p:ph type="body" sz="half" idx="10"/>
          </p:nvPr>
        </p:nvSpPr>
        <p:spPr>
          <a:xfrm>
            <a:off x="371475" y="2520000"/>
            <a:ext cx="6464040" cy="3644964"/>
          </a:xfrm>
        </p:spPr>
        <p:txBody>
          <a:bodyPr wrap="square">
            <a:normAutofit/>
          </a:bodyPr>
          <a:lstStyle>
            <a:lvl1pPr marL="0" indent="0">
              <a:lnSpc>
                <a:spcPts val="1600"/>
              </a:lnSpc>
              <a:buNone/>
              <a:defRPr sz="14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sp>
        <p:nvSpPr>
          <p:cNvPr id="27" name="Pladsholder til tekst 3"/>
          <p:cNvSpPr>
            <a:spLocks noGrp="1"/>
          </p:cNvSpPr>
          <p:nvPr>
            <p:ph type="body" sz="half" idx="2"/>
          </p:nvPr>
        </p:nvSpPr>
        <p:spPr>
          <a:xfrm>
            <a:off x="371476" y="1566000"/>
            <a:ext cx="6464040" cy="720000"/>
          </a:xfrm>
        </p:spPr>
        <p:txBody>
          <a:bodyPr wrap="square">
            <a:noAutofit/>
          </a:bodyPr>
          <a:lstStyle>
            <a:lvl1pPr marL="0" indent="0">
              <a:lnSpc>
                <a:spcPts val="1800"/>
              </a:lnSpc>
              <a:buNone/>
              <a:defRPr sz="1600" b="1">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dirty="0"/>
              <a:t>Klik for at redigere teksttypografierne i masteren</a:t>
            </a:r>
          </a:p>
        </p:txBody>
      </p:sp>
      <p:sp>
        <p:nvSpPr>
          <p:cNvPr id="10" name="Titel 9">
            <a:extLst>
              <a:ext uri="{FF2B5EF4-FFF2-40B4-BE49-F238E27FC236}">
                <a16:creationId xmlns:a16="http://schemas.microsoft.com/office/drawing/2014/main" id="{971C7391-1C94-64BD-92E9-61CBC1F84BD0}"/>
              </a:ext>
            </a:extLst>
          </p:cNvPr>
          <p:cNvSpPr>
            <a:spLocks noGrp="1"/>
          </p:cNvSpPr>
          <p:nvPr>
            <p:ph type="title"/>
          </p:nvPr>
        </p:nvSpPr>
        <p:spPr>
          <a:xfrm>
            <a:off x="360000" y="936000"/>
            <a:ext cx="6464040" cy="365125"/>
          </a:xfrm>
        </p:spPr>
        <p:txBody>
          <a:bodyPr wrap="square">
            <a:noAutofit/>
          </a:bodyPr>
          <a:lstStyle>
            <a:lvl1pPr>
              <a:lnSpc>
                <a:spcPts val="3800"/>
              </a:lnSpc>
              <a:defRPr sz="3600"/>
            </a:lvl1pPr>
          </a:lstStyle>
          <a:p>
            <a:r>
              <a:rPr lang="da-DK" dirty="0"/>
              <a:t>Klik for at redigere titeltypografien i masteren</a:t>
            </a:r>
          </a:p>
        </p:txBody>
      </p:sp>
      <p:sp>
        <p:nvSpPr>
          <p:cNvPr id="9" name="Pladsholder til billede 8">
            <a:extLst>
              <a:ext uri="{FF2B5EF4-FFF2-40B4-BE49-F238E27FC236}">
                <a16:creationId xmlns:a16="http://schemas.microsoft.com/office/drawing/2014/main" id="{4C2D7A45-F5DF-7918-0C72-44D531DB7095}"/>
              </a:ext>
            </a:extLst>
          </p:cNvPr>
          <p:cNvSpPr>
            <a:spLocks noGrp="1"/>
          </p:cNvSpPr>
          <p:nvPr>
            <p:ph type="pic" sz="quarter" idx="14"/>
          </p:nvPr>
        </p:nvSpPr>
        <p:spPr>
          <a:xfrm>
            <a:off x="7532688" y="935999"/>
            <a:ext cx="4324350" cy="5228965"/>
          </a:xfrm>
        </p:spPr>
        <p:txBody>
          <a:bodyPr/>
          <a:lstStyle/>
          <a:p>
            <a:r>
              <a:rPr lang="da-DK"/>
              <a:t>Klik på ikonet for at tilføje et billede</a:t>
            </a:r>
            <a:endParaRPr lang="da-DK" dirty="0"/>
          </a:p>
        </p:txBody>
      </p:sp>
      <p:pic>
        <p:nvPicPr>
          <p:cNvPr id="4" name="Billede 5">
            <a:extLst>
              <a:ext uri="{FF2B5EF4-FFF2-40B4-BE49-F238E27FC236}">
                <a16:creationId xmlns:a16="http://schemas.microsoft.com/office/drawing/2014/main" id="{FE58F630-A0D5-4635-7102-2A2F6E3C831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5575" y="6392545"/>
            <a:ext cx="818509" cy="310770"/>
          </a:xfrm>
          <a:prstGeom prst="rect">
            <a:avLst/>
          </a:prstGeom>
        </p:spPr>
      </p:pic>
    </p:spTree>
    <p:extLst>
      <p:ext uri="{BB962C8B-B14F-4D97-AF65-F5344CB8AC3E}">
        <p14:creationId xmlns:p14="http://schemas.microsoft.com/office/powerpoint/2010/main" val="3321893462"/>
      </p:ext>
    </p:extLst>
  </p:cSld>
  <p:clrMapOvr>
    <a:masterClrMapping/>
  </p:clrMapOvr>
  <p:extLst>
    <p:ext uri="{DCECCB84-F9BA-43D5-87BE-67443E8EF086}">
      <p15:sldGuideLst xmlns:p15="http://schemas.microsoft.com/office/powerpoint/2012/main">
        <p15:guide id="1" pos="767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a:p>
            <a:pPr lvl="1"/>
            <a:r>
              <a:rPr lang="en-US" altLang="da-DK" noProof="0" dirty="0"/>
              <a:t>Second level</a:t>
            </a:r>
          </a:p>
          <a:p>
            <a:pPr lvl="2"/>
            <a:r>
              <a:rPr lang="en-US" altLang="da-DK" noProof="0" dirty="0"/>
              <a:t>Third level</a:t>
            </a:r>
          </a:p>
          <a:p>
            <a:pPr lvl="3"/>
            <a:r>
              <a:rPr lang="en-US" altLang="da-DK" noProof="0" dirty="0"/>
              <a:t>Fourth level</a:t>
            </a:r>
          </a:p>
          <a:p>
            <a:pPr lvl="4"/>
            <a:r>
              <a:rPr lang="en-US" altLang="da-DK" noProof="0" dirty="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p:txBody>
      </p:sp>
    </p:spTree>
    <p:extLst>
      <p:ext uri="{BB962C8B-B14F-4D97-AF65-F5344CB8AC3E}">
        <p14:creationId xmlns:p14="http://schemas.microsoft.com/office/powerpoint/2010/main" val="3046822313"/>
      </p:ext>
    </p:extLst>
  </p:cSld>
  <p:clrMap bg1="lt1" tx1="dk1" bg2="lt2" tx2="dk2" accent1="accent1" accent2="accent2" accent3="accent3" accent4="accent4" accent5="accent5" accent6="accent6" hlink="hlink" folHlink="folHlink"/>
  <p:sldLayoutIdLst>
    <p:sldLayoutId id="2147483901" r:id="rId1"/>
    <p:sldLayoutId id="2147483918" r:id="rId2"/>
    <p:sldLayoutId id="2147483902" r:id="rId3"/>
    <p:sldLayoutId id="2147483903" r:id="rId4"/>
    <p:sldLayoutId id="2147483904" r:id="rId5"/>
    <p:sldLayoutId id="2147483905" r:id="rId6"/>
    <p:sldLayoutId id="2147483906" r:id="rId7"/>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a:p>
            <a:pPr lvl="1"/>
            <a:r>
              <a:rPr lang="en-US" altLang="da-DK" noProof="0" dirty="0"/>
              <a:t>Second level</a:t>
            </a:r>
          </a:p>
          <a:p>
            <a:pPr lvl="2"/>
            <a:r>
              <a:rPr lang="en-US" altLang="da-DK" noProof="0" dirty="0"/>
              <a:t>Third level</a:t>
            </a:r>
          </a:p>
          <a:p>
            <a:pPr lvl="3"/>
            <a:r>
              <a:rPr lang="en-US" altLang="da-DK" noProof="0" dirty="0"/>
              <a:t>Fourth level</a:t>
            </a:r>
          </a:p>
          <a:p>
            <a:pPr lvl="4"/>
            <a:r>
              <a:rPr lang="en-US" altLang="da-DK" noProof="0" dirty="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accent1"/>
                </a:solidFill>
                <a:latin typeface="+mn-lt"/>
              </a:rPr>
              <a:pPr algn="r">
                <a:lnSpc>
                  <a:spcPts val="1600"/>
                </a:lnSpc>
              </a:pPr>
              <a:t>‹#›</a:t>
            </a:fld>
            <a:endParaRPr lang="da-DK" sz="1400" dirty="0">
              <a:solidFill>
                <a:schemeClr val="accent1"/>
              </a:solidFill>
              <a:latin typeface="+mn-lt"/>
            </a:endParaRPr>
          </a:p>
        </p:txBody>
      </p:sp>
    </p:spTree>
    <p:extLst>
      <p:ext uri="{BB962C8B-B14F-4D97-AF65-F5344CB8AC3E}">
        <p14:creationId xmlns:p14="http://schemas.microsoft.com/office/powerpoint/2010/main" val="166638926"/>
      </p:ext>
    </p:extLst>
  </p:cSld>
  <p:clrMap bg1="lt1" tx1="dk1" bg2="lt2" tx2="dk2" accent1="accent1" accent2="accent2" accent3="accent3" accent4="accent4" accent5="accent5" accent6="accent6" hlink="hlink" folHlink="folHlink"/>
  <p:sldLayoutIdLst>
    <p:sldLayoutId id="2147483856" r:id="rId1"/>
    <p:sldLayoutId id="2147483887" r:id="rId2"/>
    <p:sldLayoutId id="2147483889" r:id="rId3"/>
    <p:sldLayoutId id="2147483888" r:id="rId4"/>
    <p:sldLayoutId id="2147483920" r:id="rId5"/>
    <p:sldLayoutId id="2147483921" r:id="rId6"/>
    <p:sldLayoutId id="2147483922" r:id="rId7"/>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93"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9" orient="horz" pos="278" userDrawn="1">
          <p15:clr>
            <a:srgbClr val="F26B43"/>
          </p15:clr>
        </p15:guide>
        <p15:guide id="10" orient="horz" pos="3884" userDrawn="1">
          <p15:clr>
            <a:srgbClr val="F26B43"/>
          </p15:clr>
        </p15:guide>
        <p15:guide id="11" orient="horz" pos="9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Pladsholder til tekst 2">
            <a:extLst>
              <a:ext uri="{FF2B5EF4-FFF2-40B4-BE49-F238E27FC236}">
                <a16:creationId xmlns:a16="http://schemas.microsoft.com/office/drawing/2014/main" id="{3D8D2EA0-B3A3-95C8-662B-F82FB3C37E07}"/>
              </a:ext>
            </a:extLst>
          </p:cNvPr>
          <p:cNvSpPr>
            <a:spLocks noGrp="1" noChangeArrowheads="1"/>
          </p:cNvSpPr>
          <p:nvPr>
            <p:ph type="body" idx="1"/>
          </p:nvPr>
        </p:nvSpPr>
        <p:spPr bwMode="auto">
          <a:xfrm>
            <a:off x="360000" y="2242192"/>
            <a:ext cx="11497038" cy="35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a:p>
            <a:pPr lvl="1"/>
            <a:r>
              <a:rPr lang="en-US" altLang="da-DK" noProof="0" dirty="0"/>
              <a:t>Second level</a:t>
            </a:r>
          </a:p>
          <a:p>
            <a:pPr lvl="2"/>
            <a:r>
              <a:rPr lang="en-US" altLang="da-DK" noProof="0" dirty="0"/>
              <a:t>Third level</a:t>
            </a:r>
          </a:p>
          <a:p>
            <a:pPr lvl="3"/>
            <a:r>
              <a:rPr lang="en-US" altLang="da-DK" noProof="0" dirty="0"/>
              <a:t>Fourth level</a:t>
            </a:r>
          </a:p>
          <a:p>
            <a:pPr lvl="4"/>
            <a:r>
              <a:rPr lang="en-US" altLang="da-DK" noProof="0" dirty="0"/>
              <a:t>Fifth level</a:t>
            </a:r>
          </a:p>
        </p:txBody>
      </p:sp>
      <p:sp>
        <p:nvSpPr>
          <p:cNvPr id="1027" name="Pladsholder til titel 11">
            <a:extLst>
              <a:ext uri="{FF2B5EF4-FFF2-40B4-BE49-F238E27FC236}">
                <a16:creationId xmlns:a16="http://schemas.microsoft.com/office/drawing/2014/main" id="{A4C73BC1-F159-B3CC-D5A6-7EF3319DECF4}"/>
              </a:ext>
            </a:extLst>
          </p:cNvPr>
          <p:cNvSpPr>
            <a:spLocks noGrp="1" noChangeArrowheads="1"/>
          </p:cNvSpPr>
          <p:nvPr>
            <p:ph type="title"/>
          </p:nvPr>
        </p:nvSpPr>
        <p:spPr bwMode="auto">
          <a:xfrm>
            <a:off x="360000" y="936000"/>
            <a:ext cx="11497038"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a-DK" noProof="0" dirty="0"/>
              <a:t>Click to add text</a:t>
            </a:r>
          </a:p>
        </p:txBody>
      </p:sp>
      <p:sp>
        <p:nvSpPr>
          <p:cNvPr id="2" name="Tekstfelt 1">
            <a:extLst>
              <a:ext uri="{FF2B5EF4-FFF2-40B4-BE49-F238E27FC236}">
                <a16:creationId xmlns:a16="http://schemas.microsoft.com/office/drawing/2014/main" id="{1E9F2AEA-39CB-64E8-EFC7-15F8793B04D6}"/>
              </a:ext>
            </a:extLst>
          </p:cNvPr>
          <p:cNvSpPr txBox="1"/>
          <p:nvPr userDrawn="1"/>
        </p:nvSpPr>
        <p:spPr>
          <a:xfrm>
            <a:off x="11222129" y="6441893"/>
            <a:ext cx="645834" cy="301429"/>
          </a:xfrm>
          <a:prstGeom prst="rect">
            <a:avLst/>
          </a:prstGeom>
          <a:noFill/>
        </p:spPr>
        <p:txBody>
          <a:bodyPr wrap="square" rIns="0" rtlCol="0">
            <a:spAutoFit/>
          </a:bodyPr>
          <a:lstStyle/>
          <a:p>
            <a:pPr algn="r">
              <a:lnSpc>
                <a:spcPts val="1600"/>
              </a:lnSpc>
            </a:pPr>
            <a:fld id="{21BE3427-6350-7449-907E-202CD6E1E8BD}" type="slidenum">
              <a:rPr lang="da-DK" sz="1400" smtClean="0">
                <a:solidFill>
                  <a:schemeClr val="bg2"/>
                </a:solidFill>
                <a:latin typeface="+mn-lt"/>
              </a:rPr>
              <a:pPr algn="r">
                <a:lnSpc>
                  <a:spcPts val="1600"/>
                </a:lnSpc>
              </a:pPr>
              <a:t>‹#›</a:t>
            </a:fld>
            <a:endParaRPr lang="da-DK" sz="1400" dirty="0">
              <a:solidFill>
                <a:schemeClr val="bg2"/>
              </a:solidFill>
              <a:latin typeface="+mn-lt"/>
            </a:endParaRPr>
          </a:p>
        </p:txBody>
      </p:sp>
    </p:spTree>
    <p:extLst>
      <p:ext uri="{BB962C8B-B14F-4D97-AF65-F5344CB8AC3E}">
        <p14:creationId xmlns:p14="http://schemas.microsoft.com/office/powerpoint/2010/main" val="2861826084"/>
      </p:ext>
    </p:extLst>
  </p:cSld>
  <p:clrMap bg1="lt1" tx1="dk1" bg2="lt2" tx2="dk2" accent1="accent1" accent2="accent2" accent3="accent3" accent4="accent4" accent5="accent5" accent6="accent6" hlink="hlink" folHlink="folHlink"/>
  <p:sldLayoutIdLst>
    <p:sldLayoutId id="2147483912" r:id="rId1"/>
    <p:sldLayoutId id="2147483919" r:id="rId2"/>
    <p:sldLayoutId id="2147483913" r:id="rId3"/>
    <p:sldLayoutId id="2147483914" r:id="rId4"/>
    <p:sldLayoutId id="2147483915" r:id="rId5"/>
    <p:sldLayoutId id="2147483916" r:id="rId6"/>
    <p:sldLayoutId id="2147483917" r:id="rId7"/>
  </p:sldLayoutIdLst>
  <p:hf hdr="0"/>
  <p:txStyles>
    <p:titleStyle>
      <a:lvl1pPr algn="l" rtl="0" eaLnBrk="1" fontAlgn="base" hangingPunct="1">
        <a:lnSpc>
          <a:spcPts val="4300"/>
        </a:lnSpc>
        <a:spcBef>
          <a:spcPct val="0"/>
        </a:spcBef>
        <a:spcAft>
          <a:spcPct val="0"/>
        </a:spcAft>
        <a:defRPr sz="42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p:titleStyle>
    <p:bodyStyle>
      <a:lvl1pPr marL="0" indent="0" algn="l" rtl="0" eaLnBrk="1" fontAlgn="base" hangingPunct="1">
        <a:lnSpc>
          <a:spcPts val="2600"/>
        </a:lnSpc>
        <a:spcBef>
          <a:spcPct val="0"/>
        </a:spcBef>
        <a:spcAft>
          <a:spcPct val="0"/>
        </a:spcAft>
        <a:buFont typeface="Arial" panose="020B0604020202020204" pitchFamily="34" charset="0"/>
        <a:buNone/>
        <a:defRPr sz="2100" b="1" kern="1200">
          <a:solidFill>
            <a:schemeClr val="tx2"/>
          </a:solidFill>
          <a:latin typeface="+mn-lt"/>
          <a:ea typeface="Ellab Sans" panose="02000503000000020004" pitchFamily="2" charset="0"/>
          <a:cs typeface="Ellab Sans" panose="02000503000000020004" pitchFamily="2" charset="0"/>
        </a:defRPr>
      </a:lvl1pPr>
      <a:lvl2pPr marL="800100" indent="-342900" algn="l" rtl="0" eaLnBrk="1" fontAlgn="base" hangingPunct="1">
        <a:lnSpc>
          <a:spcPts val="1600"/>
        </a:lnSpc>
        <a:spcBef>
          <a:spcPts val="500"/>
        </a:spcBef>
        <a:spcAft>
          <a:spcPct val="0"/>
        </a:spcAft>
        <a:buClr>
          <a:schemeClr val="accent1"/>
        </a:buClr>
        <a:buSzPct val="120000"/>
        <a:buFont typeface="Arial" panose="020B0604020202020204" pitchFamily="34" charset="0"/>
        <a:buChar char="•"/>
        <a:defRPr sz="1400" b="0" kern="1200">
          <a:solidFill>
            <a:schemeClr val="tx2"/>
          </a:solidFill>
          <a:latin typeface="+mn-lt"/>
          <a:ea typeface="Ellab Sans" panose="02000503000000020004" pitchFamily="2" charset="0"/>
          <a:cs typeface="Ellab Sans" panose="02000503000000020004" pitchFamily="2" charset="0"/>
        </a:defRPr>
      </a:lvl2pPr>
      <a:lvl3pPr marL="1257300" indent="-34290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200" b="1" kern="1200">
          <a:solidFill>
            <a:schemeClr val="tx2"/>
          </a:solidFill>
          <a:latin typeface="+mn-lt"/>
          <a:ea typeface="Ellab Sans" panose="02000503000000020004" pitchFamily="2" charset="0"/>
          <a:cs typeface="Ellab Sans" panose="02000503000000020004" pitchFamily="2" charset="0"/>
        </a:defRPr>
      </a:lvl3pPr>
      <a:lvl4pPr marL="16573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1000" kern="1200">
          <a:solidFill>
            <a:schemeClr val="tx2"/>
          </a:solidFill>
          <a:latin typeface="+mn-lt"/>
          <a:ea typeface="Ellab Sans" panose="02000503000000020004" pitchFamily="2" charset="0"/>
          <a:cs typeface="Ellab Sans" panose="02000503000000020004" pitchFamily="2" charset="0"/>
        </a:defRPr>
      </a:lvl4pPr>
      <a:lvl5pPr marL="2114550" indent="-285750" algn="l" rtl="0" eaLnBrk="1" fontAlgn="base" hangingPunct="1">
        <a:lnSpc>
          <a:spcPct val="90000"/>
        </a:lnSpc>
        <a:spcBef>
          <a:spcPts val="500"/>
        </a:spcBef>
        <a:spcAft>
          <a:spcPct val="0"/>
        </a:spcAft>
        <a:buClr>
          <a:schemeClr val="accent1"/>
        </a:buClr>
        <a:buSzPct val="120000"/>
        <a:buFont typeface="Arial" panose="020B0604020202020204" pitchFamily="34" charset="0"/>
        <a:buChar char="•"/>
        <a:defRPr sz="900" kern="1200">
          <a:solidFill>
            <a:schemeClr val="tx2"/>
          </a:solidFill>
          <a:latin typeface="+mn-lt"/>
          <a:ea typeface="Ellab Sans" panose="02000503000000020004" pitchFamily="2" charset="0"/>
          <a:cs typeface="Ellab Sans"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6" userDrawn="1">
          <p15:clr>
            <a:srgbClr val="F26B43"/>
          </p15:clr>
        </p15:guide>
        <p15:guide id="2" pos="3840">
          <p15:clr>
            <a:srgbClr val="F26B43"/>
          </p15:clr>
        </p15:guide>
        <p15:guide id="3" pos="98" userDrawn="1">
          <p15:clr>
            <a:srgbClr val="F26B43"/>
          </p15:clr>
        </p15:guide>
        <p15:guide id="4" pos="234" userDrawn="1">
          <p15:clr>
            <a:srgbClr val="F26B43"/>
          </p15:clr>
        </p15:guide>
        <p15:guide id="5" pos="7469" userDrawn="1">
          <p15:clr>
            <a:srgbClr val="F26B43"/>
          </p15:clr>
        </p15:guide>
        <p15:guide id="6" pos="7582" userDrawn="1">
          <p15:clr>
            <a:srgbClr val="F26B43"/>
          </p15:clr>
        </p15:guide>
        <p15:guide id="7" orient="horz" pos="595" userDrawn="1">
          <p15:clr>
            <a:srgbClr val="F26B43"/>
          </p15:clr>
        </p15:guide>
        <p15:guide id="8" orient="horz" pos="1412" userDrawn="1">
          <p15:clr>
            <a:srgbClr val="F26B43"/>
          </p15:clr>
        </p15:guide>
        <p15:guide id="9" orient="horz" pos="278" userDrawn="1">
          <p15:clr>
            <a:srgbClr val="F26B43"/>
          </p15:clr>
        </p15:guide>
        <p15:guide id="10" orient="horz" pos="3884" userDrawn="1">
          <p15:clr>
            <a:srgbClr val="F26B43"/>
          </p15:clr>
        </p15:guide>
        <p15:guide id="11"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43.svg"/><Relationship Id="rId3" Type="http://schemas.openxmlformats.org/officeDocument/2006/relationships/image" Target="../media/image40.png"/><Relationship Id="rId7" Type="http://schemas.openxmlformats.org/officeDocument/2006/relationships/image" Target="../media/image33.png"/><Relationship Id="rId12"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8.xml"/><Relationship Id="rId6" Type="http://schemas.openxmlformats.org/officeDocument/2006/relationships/image" Target="../media/image32.svg"/><Relationship Id="rId11" Type="http://schemas.openxmlformats.org/officeDocument/2006/relationships/image" Target="../media/image39.svg"/><Relationship Id="rId5" Type="http://schemas.openxmlformats.org/officeDocument/2006/relationships/image" Target="../media/image31.png"/><Relationship Id="rId15" Type="http://schemas.openxmlformats.org/officeDocument/2006/relationships/image" Target="../media/image45.svg"/><Relationship Id="rId10" Type="http://schemas.openxmlformats.org/officeDocument/2006/relationships/image" Target="../media/image38.png"/><Relationship Id="rId4" Type="http://schemas.openxmlformats.org/officeDocument/2006/relationships/image" Target="../media/image41.svg"/><Relationship Id="rId9" Type="http://schemas.openxmlformats.org/officeDocument/2006/relationships/image" Target="../media/image35.svg"/><Relationship Id="rId14" Type="http://schemas.openxmlformats.org/officeDocument/2006/relationships/image" Target="../media/image44.png"/></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1.png"/><Relationship Id="rId7" Type="http://schemas.openxmlformats.org/officeDocument/2006/relationships/image" Target="../media/image35.svg"/><Relationship Id="rId2" Type="http://schemas.openxmlformats.org/officeDocument/2006/relationships/image" Target="../media/image37.png"/><Relationship Id="rId1" Type="http://schemas.openxmlformats.org/officeDocument/2006/relationships/slideLayout" Target="../slideLayouts/slideLayout8.xml"/><Relationship Id="rId6" Type="http://schemas.openxmlformats.org/officeDocument/2006/relationships/image" Target="../media/image34.png"/><Relationship Id="rId11" Type="http://schemas.openxmlformats.org/officeDocument/2006/relationships/image" Target="../media/image41.sv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32.svg"/><Relationship Id="rId9" Type="http://schemas.openxmlformats.org/officeDocument/2006/relationships/image" Target="../media/image39.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microsoft.com/office/2018/10/relationships/comments" Target="../comments/modernComment_2807_768C939D.xml"/><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microsoft.com/office/2018/10/relationships/comments" Target="../comments/modernComment_7FFFDD62_B716EFE2.xml"/><Relationship Id="rId7" Type="http://schemas.openxmlformats.org/officeDocument/2006/relationships/image" Target="../media/image32.sv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sv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8.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29.png"/><Relationship Id="rId7"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8.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 Id="rId9" Type="http://schemas.openxmlformats.org/officeDocument/2006/relationships/image" Target="../media/image39.sv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png"/><Relationship Id="rId7" Type="http://schemas.openxmlformats.org/officeDocument/2006/relationships/image" Target="../media/image37.png"/><Relationship Id="rId12"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slideLayout" Target="../slideLayouts/slideLayout8.xml"/><Relationship Id="rId6" Type="http://schemas.openxmlformats.org/officeDocument/2006/relationships/image" Target="../media/image32.svg"/><Relationship Id="rId11" Type="http://schemas.openxmlformats.org/officeDocument/2006/relationships/image" Target="../media/image40.png"/><Relationship Id="rId5" Type="http://schemas.openxmlformats.org/officeDocument/2006/relationships/image" Target="../media/image31.png"/><Relationship Id="rId10" Type="http://schemas.openxmlformats.org/officeDocument/2006/relationships/image" Target="../media/image35.svg"/><Relationship Id="rId4" Type="http://schemas.openxmlformats.org/officeDocument/2006/relationships/image" Target="../media/image30.svg"/><Relationship Id="rId9"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441B0C-CFBC-B566-A41C-4C1CB8320C01}"/>
              </a:ext>
            </a:extLst>
          </p:cNvPr>
          <p:cNvSpPr>
            <a:spLocks noGrp="1"/>
          </p:cNvSpPr>
          <p:nvPr>
            <p:ph type="title"/>
          </p:nvPr>
        </p:nvSpPr>
        <p:spPr/>
        <p:txBody>
          <a:bodyPr/>
          <a:lstStyle/>
          <a:p>
            <a:r>
              <a:rPr lang="en-US" noProof="0" dirty="0"/>
              <a:t>ValSuite® Software Features</a:t>
            </a:r>
          </a:p>
        </p:txBody>
      </p:sp>
    </p:spTree>
    <p:extLst>
      <p:ext uri="{BB962C8B-B14F-4D97-AF65-F5344CB8AC3E}">
        <p14:creationId xmlns:p14="http://schemas.microsoft.com/office/powerpoint/2010/main" val="4249952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B5C8FE-9354-08A0-1A73-81F4AC9581D0}"/>
            </a:ext>
          </a:extLst>
        </p:cNvPr>
        <p:cNvGrpSpPr/>
        <p:nvPr/>
      </p:nvGrpSpPr>
      <p:grpSpPr>
        <a:xfrm>
          <a:off x="0" y="0"/>
          <a:ext cx="0" cy="0"/>
          <a:chOff x="0" y="0"/>
          <a:chExt cx="0" cy="0"/>
        </a:xfrm>
      </p:grpSpPr>
      <p:sp>
        <p:nvSpPr>
          <p:cNvPr id="94" name="Rectangle: Rounded Corners 93">
            <a:extLst>
              <a:ext uri="{FF2B5EF4-FFF2-40B4-BE49-F238E27FC236}">
                <a16:creationId xmlns:a16="http://schemas.microsoft.com/office/drawing/2014/main" id="{5923ED50-24A7-48F1-92E0-820431A11C4E}"/>
              </a:ext>
            </a:extLst>
          </p:cNvPr>
          <p:cNvSpPr>
            <a:spLocks noGrp="1" noRot="1" noMove="1" noResize="1" noEditPoints="1" noAdjustHandles="1" noChangeArrowheads="1" noChangeShapeType="1"/>
          </p:cNvSpPr>
          <p:nvPr/>
        </p:nvSpPr>
        <p:spPr>
          <a:xfrm rot="5400000">
            <a:off x="3359183" y="-1974816"/>
            <a:ext cx="5473633" cy="12192000"/>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9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Rounded Corners 92">
            <a:extLst>
              <a:ext uri="{FF2B5EF4-FFF2-40B4-BE49-F238E27FC236}">
                <a16:creationId xmlns:a16="http://schemas.microsoft.com/office/drawing/2014/main" id="{EB06BD83-3F78-511F-9AE7-DD1417200287}"/>
              </a:ext>
            </a:extLst>
          </p:cNvPr>
          <p:cNvSpPr/>
          <p:nvPr/>
        </p:nvSpPr>
        <p:spPr>
          <a:xfrm>
            <a:off x="7212404" y="2070100"/>
            <a:ext cx="2893787" cy="4373925"/>
          </a:xfrm>
          <a:prstGeom prst="roundRect">
            <a:avLst>
              <a:gd name="adj" fmla="val 4406"/>
            </a:avLst>
          </a:prstGeom>
          <a:noFill/>
          <a:ln>
            <a:gradFill>
              <a:gsLst>
                <a:gs pos="100000">
                  <a:schemeClr val="tx2"/>
                </a:gs>
                <a:gs pos="0">
                  <a:schemeClr val="accent1"/>
                </a:gs>
              </a:gsLst>
              <a:lin ang="54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32" name="Picture 31" descr="A computer with a keyboard and mouse&#10;&#10;AI-generated content may be incorrect.">
            <a:extLst>
              <a:ext uri="{FF2B5EF4-FFF2-40B4-BE49-F238E27FC236}">
                <a16:creationId xmlns:a16="http://schemas.microsoft.com/office/drawing/2014/main" id="{11CDC26F-AD30-6406-13E2-8F78442F86FD}"/>
              </a:ext>
            </a:extLst>
          </p:cNvPr>
          <p:cNvPicPr>
            <a:picLocks noChangeAspect="1"/>
          </p:cNvPicPr>
          <p:nvPr/>
        </p:nvPicPr>
        <p:blipFill>
          <a:blip r:embed="rId2"/>
          <a:srcRect l="63681"/>
          <a:stretch>
            <a:fillRect/>
          </a:stretch>
        </p:blipFill>
        <p:spPr>
          <a:xfrm>
            <a:off x="8824505" y="4337739"/>
            <a:ext cx="1102790" cy="1386209"/>
          </a:xfrm>
          <a:prstGeom prst="rect">
            <a:avLst/>
          </a:prstGeom>
        </p:spPr>
      </p:pic>
      <p:sp>
        <p:nvSpPr>
          <p:cNvPr id="34" name="Rectangle 33">
            <a:extLst>
              <a:ext uri="{FF2B5EF4-FFF2-40B4-BE49-F238E27FC236}">
                <a16:creationId xmlns:a16="http://schemas.microsoft.com/office/drawing/2014/main" id="{4B2D1409-CB9F-2B91-4860-C7C773C66387}"/>
              </a:ext>
            </a:extLst>
          </p:cNvPr>
          <p:cNvSpPr/>
          <p:nvPr/>
        </p:nvSpPr>
        <p:spPr>
          <a:xfrm>
            <a:off x="9445625" y="5098492"/>
            <a:ext cx="390525" cy="4159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el 2">
            <a:extLst>
              <a:ext uri="{FF2B5EF4-FFF2-40B4-BE49-F238E27FC236}">
                <a16:creationId xmlns:a16="http://schemas.microsoft.com/office/drawing/2014/main" id="{E7976B62-C505-FB4D-8130-1FCB5C05DAC3}"/>
              </a:ext>
            </a:extLst>
          </p:cNvPr>
          <p:cNvSpPr>
            <a:spLocks noGrp="1"/>
          </p:cNvSpPr>
          <p:nvPr>
            <p:ph type="title"/>
          </p:nvPr>
        </p:nvSpPr>
        <p:spPr/>
        <p:txBody>
          <a:bodyPr/>
          <a:lstStyle/>
          <a:p>
            <a:r>
              <a:rPr lang="en-US" noProof="0" dirty="0"/>
              <a:t>Connecting Remote </a:t>
            </a:r>
            <a:r>
              <a:rPr lang="en-US" dirty="0"/>
              <a:t>S</a:t>
            </a:r>
            <a:r>
              <a:rPr lang="en-US" noProof="0" dirty="0" err="1"/>
              <a:t>ites</a:t>
            </a:r>
            <a:r>
              <a:rPr lang="en-US" noProof="0" dirty="0"/>
              <a:t> via VPN</a:t>
            </a:r>
          </a:p>
        </p:txBody>
      </p:sp>
      <p:sp>
        <p:nvSpPr>
          <p:cNvPr id="8" name="Text Placeholder 7">
            <a:extLst>
              <a:ext uri="{FF2B5EF4-FFF2-40B4-BE49-F238E27FC236}">
                <a16:creationId xmlns:a16="http://schemas.microsoft.com/office/drawing/2014/main" id="{D53268C8-A6D6-E796-7FB4-8ADA0949F993}"/>
              </a:ext>
            </a:extLst>
          </p:cNvPr>
          <p:cNvSpPr>
            <a:spLocks noGrp="1"/>
          </p:cNvSpPr>
          <p:nvPr>
            <p:ph type="body" sz="half" idx="2"/>
          </p:nvPr>
        </p:nvSpPr>
        <p:spPr/>
        <p:txBody>
          <a:bodyPr/>
          <a:lstStyle/>
          <a:p>
            <a:r>
              <a:rPr lang="en-US" noProof="0" dirty="0"/>
              <a:t>With a VPN, several sites in different locations can be connected.</a:t>
            </a:r>
          </a:p>
        </p:txBody>
      </p:sp>
      <p:grpSp>
        <p:nvGrpSpPr>
          <p:cNvPr id="15" name="Group 14">
            <a:extLst>
              <a:ext uri="{FF2B5EF4-FFF2-40B4-BE49-F238E27FC236}">
                <a16:creationId xmlns:a16="http://schemas.microsoft.com/office/drawing/2014/main" id="{69E66099-FFBD-8BDE-A963-FAD35F75C940}"/>
              </a:ext>
            </a:extLst>
          </p:cNvPr>
          <p:cNvGrpSpPr/>
          <p:nvPr/>
        </p:nvGrpSpPr>
        <p:grpSpPr>
          <a:xfrm>
            <a:off x="5256660" y="3180792"/>
            <a:ext cx="1678680" cy="1678680"/>
            <a:chOff x="3744741" y="2694175"/>
            <a:chExt cx="1093132" cy="1093132"/>
          </a:xfrm>
        </p:grpSpPr>
        <p:pic>
          <p:nvPicPr>
            <p:cNvPr id="16" name="Graphic 15" descr="Cloud with solid fill">
              <a:extLst>
                <a:ext uri="{FF2B5EF4-FFF2-40B4-BE49-F238E27FC236}">
                  <a16:creationId xmlns:a16="http://schemas.microsoft.com/office/drawing/2014/main" id="{4B5938A2-E0AA-DB69-279F-00CA952066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44741" y="2694175"/>
              <a:ext cx="1093132" cy="1093132"/>
            </a:xfrm>
            <a:prstGeom prst="rect">
              <a:avLst/>
            </a:prstGeom>
          </p:spPr>
        </p:pic>
        <p:sp>
          <p:nvSpPr>
            <p:cNvPr id="17" name="TextBox 16">
              <a:extLst>
                <a:ext uri="{FF2B5EF4-FFF2-40B4-BE49-F238E27FC236}">
                  <a16:creationId xmlns:a16="http://schemas.microsoft.com/office/drawing/2014/main" id="{40B50E1E-B5B2-4AF0-121E-7DAC195A09F1}"/>
                </a:ext>
              </a:extLst>
            </p:cNvPr>
            <p:cNvSpPr txBox="1"/>
            <p:nvPr/>
          </p:nvSpPr>
          <p:spPr>
            <a:xfrm>
              <a:off x="3964831" y="3131614"/>
              <a:ext cx="626219" cy="340713"/>
            </a:xfrm>
            <a:prstGeom prst="rect">
              <a:avLst/>
            </a:prstGeom>
            <a:noFill/>
          </p:spPr>
          <p:txBody>
            <a:bodyPr wrap="square" rtlCol="0">
              <a:spAutoFit/>
            </a:bodyPr>
            <a:lstStyle/>
            <a:p>
              <a:pPr algn="ctr"/>
              <a:r>
                <a:rPr lang="en-US" sz="2800" b="1" dirty="0">
                  <a:solidFill>
                    <a:schemeClr val="bg2"/>
                  </a:solidFill>
                  <a:latin typeface="+mj-lt"/>
                </a:rPr>
                <a:t>VPN</a:t>
              </a:r>
            </a:p>
          </p:txBody>
        </p:sp>
      </p:grpSp>
      <p:sp>
        <p:nvSpPr>
          <p:cNvPr id="18" name="Rectangle: Rounded Corners 17">
            <a:extLst>
              <a:ext uri="{FF2B5EF4-FFF2-40B4-BE49-F238E27FC236}">
                <a16:creationId xmlns:a16="http://schemas.microsoft.com/office/drawing/2014/main" id="{CF3B7FE6-B9B5-A8D4-E424-4C5EB48B5F0E}"/>
              </a:ext>
            </a:extLst>
          </p:cNvPr>
          <p:cNvSpPr/>
          <p:nvPr/>
        </p:nvSpPr>
        <p:spPr>
          <a:xfrm>
            <a:off x="2171699" y="2084063"/>
            <a:ext cx="2893787" cy="4373925"/>
          </a:xfrm>
          <a:prstGeom prst="roundRect">
            <a:avLst>
              <a:gd name="adj" fmla="val 4406"/>
            </a:avLst>
          </a:prstGeom>
          <a:noFill/>
          <a:ln>
            <a:gradFill>
              <a:gsLst>
                <a:gs pos="0">
                  <a:schemeClr val="tx2"/>
                </a:gs>
                <a:gs pos="100000">
                  <a:schemeClr val="accent1"/>
                </a:gs>
              </a:gsLst>
              <a:lin ang="54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31" name="Picture 30" descr="A computer with a keyboard and mouse&#10;&#10;AI-generated content may be incorrect.">
            <a:extLst>
              <a:ext uri="{FF2B5EF4-FFF2-40B4-BE49-F238E27FC236}">
                <a16:creationId xmlns:a16="http://schemas.microsoft.com/office/drawing/2014/main" id="{9AAAAF7D-FC2B-CA79-399A-C6E4BBCFAB5D}"/>
              </a:ext>
            </a:extLst>
          </p:cNvPr>
          <p:cNvPicPr>
            <a:picLocks noChangeAspect="1"/>
          </p:cNvPicPr>
          <p:nvPr/>
        </p:nvPicPr>
        <p:blipFill>
          <a:blip r:embed="rId2"/>
          <a:srcRect l="63681"/>
          <a:stretch>
            <a:fillRect/>
          </a:stretch>
        </p:blipFill>
        <p:spPr>
          <a:xfrm>
            <a:off x="7616261" y="4337739"/>
            <a:ext cx="1062887" cy="1336052"/>
          </a:xfrm>
          <a:prstGeom prst="rect">
            <a:avLst/>
          </a:prstGeom>
        </p:spPr>
      </p:pic>
      <p:pic>
        <p:nvPicPr>
          <p:cNvPr id="33" name="Graphic 32" descr="Database with solid fill">
            <a:extLst>
              <a:ext uri="{FF2B5EF4-FFF2-40B4-BE49-F238E27FC236}">
                <a16:creationId xmlns:a16="http://schemas.microsoft.com/office/drawing/2014/main" id="{4212D3C0-7F92-5138-9584-A43B91C379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99643" y="4973887"/>
            <a:ext cx="680156" cy="680156"/>
          </a:xfrm>
          <a:prstGeom prst="rect">
            <a:avLst/>
          </a:prstGeom>
        </p:spPr>
      </p:pic>
      <p:grpSp>
        <p:nvGrpSpPr>
          <p:cNvPr id="35" name="Group 34">
            <a:extLst>
              <a:ext uri="{FF2B5EF4-FFF2-40B4-BE49-F238E27FC236}">
                <a16:creationId xmlns:a16="http://schemas.microsoft.com/office/drawing/2014/main" id="{5E0EFB54-F390-BB10-1203-27904AD09211}"/>
              </a:ext>
            </a:extLst>
          </p:cNvPr>
          <p:cNvGrpSpPr/>
          <p:nvPr/>
        </p:nvGrpSpPr>
        <p:grpSpPr>
          <a:xfrm>
            <a:off x="2186477" y="4677759"/>
            <a:ext cx="1819815" cy="1247072"/>
            <a:chOff x="1694420" y="4001191"/>
            <a:chExt cx="1819815" cy="1247072"/>
          </a:xfrm>
        </p:grpSpPr>
        <p:pic>
          <p:nvPicPr>
            <p:cNvPr id="36" name="Picture 35" descr="A computer with a check mark on the screen&#10;&#10;AI-generated content may be incorrect.">
              <a:extLst>
                <a:ext uri="{FF2B5EF4-FFF2-40B4-BE49-F238E27FC236}">
                  <a16:creationId xmlns:a16="http://schemas.microsoft.com/office/drawing/2014/main" id="{8B49C0DF-7D8E-10FA-C65A-9B0B81AB1611}"/>
                </a:ext>
              </a:extLst>
            </p:cNvPr>
            <p:cNvPicPr>
              <a:picLocks noChangeAspect="1"/>
            </p:cNvPicPr>
            <p:nvPr/>
          </p:nvPicPr>
          <p:blipFill>
            <a:blip r:embed="rId7"/>
            <a:stretch>
              <a:fillRect/>
            </a:stretch>
          </p:blipFill>
          <p:spPr>
            <a:xfrm>
              <a:off x="1694420" y="4001191"/>
              <a:ext cx="1819815" cy="1247072"/>
            </a:xfrm>
            <a:prstGeom prst="rect">
              <a:avLst/>
            </a:prstGeom>
          </p:spPr>
        </p:pic>
        <p:pic>
          <p:nvPicPr>
            <p:cNvPr id="37" name="Graphic 36" descr="Database with solid fill">
              <a:extLst>
                <a:ext uri="{FF2B5EF4-FFF2-40B4-BE49-F238E27FC236}">
                  <a16:creationId xmlns:a16="http://schemas.microsoft.com/office/drawing/2014/main" id="{608B09DA-DCD5-FA4E-87B5-76E5EAD1282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66317">
              <a:off x="2750339" y="4341018"/>
              <a:ext cx="339156" cy="339156"/>
            </a:xfrm>
            <a:prstGeom prst="rect">
              <a:avLst/>
            </a:prstGeom>
          </p:spPr>
        </p:pic>
      </p:grpSp>
      <p:pic>
        <p:nvPicPr>
          <p:cNvPr id="38" name="Graphic 37">
            <a:extLst>
              <a:ext uri="{FF2B5EF4-FFF2-40B4-BE49-F238E27FC236}">
                <a16:creationId xmlns:a16="http://schemas.microsoft.com/office/drawing/2014/main" id="{2C0B4AEE-BAD2-3F13-686E-74506F09126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36016" y="5919862"/>
            <a:ext cx="426909" cy="426909"/>
          </a:xfrm>
          <a:prstGeom prst="rect">
            <a:avLst/>
          </a:prstGeom>
        </p:spPr>
      </p:pic>
      <p:cxnSp>
        <p:nvCxnSpPr>
          <p:cNvPr id="40" name="Straight Connector 39">
            <a:extLst>
              <a:ext uri="{FF2B5EF4-FFF2-40B4-BE49-F238E27FC236}">
                <a16:creationId xmlns:a16="http://schemas.microsoft.com/office/drawing/2014/main" id="{4C7AD44D-35B8-C4D8-D6D0-9C7C0B99F45D}"/>
              </a:ext>
            </a:extLst>
          </p:cNvPr>
          <p:cNvCxnSpPr>
            <a:cxnSpLocks/>
          </p:cNvCxnSpPr>
          <p:nvPr/>
        </p:nvCxnSpPr>
        <p:spPr>
          <a:xfrm>
            <a:off x="4450959" y="3141089"/>
            <a:ext cx="0" cy="973071"/>
          </a:xfrm>
          <a:prstGeom prst="line">
            <a:avLst/>
          </a:prstGeom>
        </p:spPr>
        <p:style>
          <a:lnRef idx="2">
            <a:schemeClr val="accent1"/>
          </a:lnRef>
          <a:fillRef idx="0">
            <a:schemeClr val="accent1"/>
          </a:fillRef>
          <a:effectRef idx="1">
            <a:schemeClr val="accent1"/>
          </a:effectRef>
          <a:fontRef idx="minor">
            <a:schemeClr val="tx1"/>
          </a:fontRef>
        </p:style>
      </p:cxnSp>
      <p:cxnSp>
        <p:nvCxnSpPr>
          <p:cNvPr id="43" name="Connector: Elbow 42">
            <a:extLst>
              <a:ext uri="{FF2B5EF4-FFF2-40B4-BE49-F238E27FC236}">
                <a16:creationId xmlns:a16="http://schemas.microsoft.com/office/drawing/2014/main" id="{2B10C78D-A800-27AD-9895-E032CC382216}"/>
              </a:ext>
            </a:extLst>
          </p:cNvPr>
          <p:cNvCxnSpPr>
            <a:cxnSpLocks/>
          </p:cNvCxnSpPr>
          <p:nvPr/>
        </p:nvCxnSpPr>
        <p:spPr>
          <a:xfrm rot="16200000" flipH="1">
            <a:off x="2639817" y="3703275"/>
            <a:ext cx="2143125" cy="1479158"/>
          </a:xfrm>
          <a:prstGeom prst="bentConnector3">
            <a:avLst>
              <a:gd name="adj1" fmla="val 36222"/>
            </a:avLst>
          </a:prstGeom>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1F0EF423-F44A-036D-2358-EF236B9A5EE8}"/>
              </a:ext>
            </a:extLst>
          </p:cNvPr>
          <p:cNvCxnSpPr/>
          <p:nvPr/>
        </p:nvCxnSpPr>
        <p:spPr>
          <a:xfrm>
            <a:off x="3607066" y="5514417"/>
            <a:ext cx="8438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2A8A4DDC-8A8F-D321-0A13-DF960526ACC3}"/>
              </a:ext>
            </a:extLst>
          </p:cNvPr>
          <p:cNvCxnSpPr/>
          <p:nvPr/>
        </p:nvCxnSpPr>
        <p:spPr>
          <a:xfrm>
            <a:off x="6772368" y="4114160"/>
            <a:ext cx="8438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F982B9B0-B5B0-BED2-4CBD-12DBB3AC750E}"/>
              </a:ext>
            </a:extLst>
          </p:cNvPr>
          <p:cNvCxnSpPr/>
          <p:nvPr/>
        </p:nvCxnSpPr>
        <p:spPr>
          <a:xfrm>
            <a:off x="4767976" y="4114160"/>
            <a:ext cx="8438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E60225C2-8C4D-EE43-E621-8A7C21FE653F}"/>
              </a:ext>
            </a:extLst>
          </p:cNvPr>
          <p:cNvCxnSpPr>
            <a:cxnSpLocks/>
          </p:cNvCxnSpPr>
          <p:nvPr/>
        </p:nvCxnSpPr>
        <p:spPr>
          <a:xfrm>
            <a:off x="8257201" y="4123685"/>
            <a:ext cx="122891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928A2281-31E2-FDBB-5837-0975C751F17E}"/>
              </a:ext>
            </a:extLst>
          </p:cNvPr>
          <p:cNvCxnSpPr>
            <a:cxnSpLocks/>
          </p:cNvCxnSpPr>
          <p:nvPr/>
        </p:nvCxnSpPr>
        <p:spPr>
          <a:xfrm>
            <a:off x="9472636" y="3352491"/>
            <a:ext cx="0" cy="768974"/>
          </a:xfrm>
          <a:prstGeom prst="line">
            <a:avLst/>
          </a:prstGeom>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56CC0837-303D-62FE-AEED-E4BBF9F23FCE}"/>
              </a:ext>
            </a:extLst>
          </p:cNvPr>
          <p:cNvCxnSpPr>
            <a:cxnSpLocks/>
          </p:cNvCxnSpPr>
          <p:nvPr/>
        </p:nvCxnSpPr>
        <p:spPr>
          <a:xfrm>
            <a:off x="8162925" y="3251158"/>
            <a:ext cx="0" cy="768974"/>
          </a:xfrm>
          <a:prstGeom prst="line">
            <a:avLst/>
          </a:prstGeom>
        </p:spPr>
        <p:style>
          <a:lnRef idx="2">
            <a:schemeClr val="accent1"/>
          </a:lnRef>
          <a:fillRef idx="0">
            <a:schemeClr val="accent1"/>
          </a:fillRef>
          <a:effectRef idx="1">
            <a:schemeClr val="accent1"/>
          </a:effectRef>
          <a:fontRef idx="minor">
            <a:schemeClr val="tx1"/>
          </a:fontRef>
        </p:style>
      </p:cxnSp>
      <p:grpSp>
        <p:nvGrpSpPr>
          <p:cNvPr id="77" name="Group 76">
            <a:extLst>
              <a:ext uri="{FF2B5EF4-FFF2-40B4-BE49-F238E27FC236}">
                <a16:creationId xmlns:a16="http://schemas.microsoft.com/office/drawing/2014/main" id="{DEBCD47F-84EB-CB48-24BE-C2BAF13BC349}"/>
              </a:ext>
            </a:extLst>
          </p:cNvPr>
          <p:cNvGrpSpPr/>
          <p:nvPr/>
        </p:nvGrpSpPr>
        <p:grpSpPr>
          <a:xfrm>
            <a:off x="7506097" y="3983230"/>
            <a:ext cx="886746" cy="278023"/>
            <a:chOff x="8980292" y="1029582"/>
            <a:chExt cx="1011645" cy="317183"/>
          </a:xfrm>
        </p:grpSpPr>
        <p:sp>
          <p:nvSpPr>
            <p:cNvPr id="61" name="Rectangle 60">
              <a:extLst>
                <a:ext uri="{FF2B5EF4-FFF2-40B4-BE49-F238E27FC236}">
                  <a16:creationId xmlns:a16="http://schemas.microsoft.com/office/drawing/2014/main" id="{0EC1E879-C433-03C3-B723-CB094582BA38}"/>
                </a:ext>
              </a:extLst>
            </p:cNvPr>
            <p:cNvSpPr/>
            <p:nvPr/>
          </p:nvSpPr>
          <p:spPr>
            <a:xfrm>
              <a:off x="8980292" y="1029582"/>
              <a:ext cx="1011645" cy="317183"/>
            </a:xfrm>
            <a:prstGeom prst="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Graphic 62" descr="Heart with solid fill">
              <a:extLst>
                <a:ext uri="{FF2B5EF4-FFF2-40B4-BE49-F238E27FC236}">
                  <a16:creationId xmlns:a16="http://schemas.microsoft.com/office/drawing/2014/main" id="{5E7A9725-F182-B770-4EF9-0574DB28893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15051" y="1060380"/>
              <a:ext cx="127793" cy="127793"/>
            </a:xfrm>
            <a:prstGeom prst="rect">
              <a:avLst/>
            </a:prstGeom>
          </p:spPr>
        </p:pic>
        <p:pic>
          <p:nvPicPr>
            <p:cNvPr id="64" name="Graphic 63" descr="Heart with solid fill">
              <a:extLst>
                <a:ext uri="{FF2B5EF4-FFF2-40B4-BE49-F238E27FC236}">
                  <a16:creationId xmlns:a16="http://schemas.microsoft.com/office/drawing/2014/main" id="{0D5CCE12-1844-8D19-F164-C6767A8A954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54738" y="1060380"/>
              <a:ext cx="127793" cy="127793"/>
            </a:xfrm>
            <a:prstGeom prst="rect">
              <a:avLst/>
            </a:prstGeom>
          </p:spPr>
        </p:pic>
        <p:pic>
          <p:nvPicPr>
            <p:cNvPr id="65" name="Graphic 64" descr="Heart with solid fill">
              <a:extLst>
                <a:ext uri="{FF2B5EF4-FFF2-40B4-BE49-F238E27FC236}">
                  <a16:creationId xmlns:a16="http://schemas.microsoft.com/office/drawing/2014/main" id="{0EED8CF1-0039-DEE0-E5EA-E8D52BF8D6D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92859" y="1056237"/>
              <a:ext cx="127793" cy="127793"/>
            </a:xfrm>
            <a:prstGeom prst="rect">
              <a:avLst/>
            </a:prstGeom>
          </p:spPr>
        </p:pic>
        <p:pic>
          <p:nvPicPr>
            <p:cNvPr id="66" name="Graphic 65" descr="Heart with solid fill">
              <a:extLst>
                <a:ext uri="{FF2B5EF4-FFF2-40B4-BE49-F238E27FC236}">
                  <a16:creationId xmlns:a16="http://schemas.microsoft.com/office/drawing/2014/main" id="{2773B14E-E1D2-4708-19A9-3CEF42B6BC0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30980" y="1060379"/>
              <a:ext cx="127793" cy="127793"/>
            </a:xfrm>
            <a:prstGeom prst="rect">
              <a:avLst/>
            </a:prstGeom>
          </p:spPr>
        </p:pic>
        <p:pic>
          <p:nvPicPr>
            <p:cNvPr id="67" name="Graphic 66" descr="Heart with solid fill">
              <a:extLst>
                <a:ext uri="{FF2B5EF4-FFF2-40B4-BE49-F238E27FC236}">
                  <a16:creationId xmlns:a16="http://schemas.microsoft.com/office/drawing/2014/main" id="{EAFC4E1A-5D10-CEF7-F394-24E0D7FADED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69101" y="1056237"/>
              <a:ext cx="127793" cy="127793"/>
            </a:xfrm>
            <a:prstGeom prst="rect">
              <a:avLst/>
            </a:prstGeom>
          </p:spPr>
        </p:pic>
        <p:pic>
          <p:nvPicPr>
            <p:cNvPr id="68" name="Graphic 67" descr="Heart with solid fill">
              <a:extLst>
                <a:ext uri="{FF2B5EF4-FFF2-40B4-BE49-F238E27FC236}">
                  <a16:creationId xmlns:a16="http://schemas.microsoft.com/office/drawing/2014/main" id="{8BFC2824-332E-BC29-A043-D2098B49AD5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15051" y="1200034"/>
              <a:ext cx="127793" cy="127793"/>
            </a:xfrm>
            <a:prstGeom prst="rect">
              <a:avLst/>
            </a:prstGeom>
          </p:spPr>
        </p:pic>
        <p:pic>
          <p:nvPicPr>
            <p:cNvPr id="69" name="Graphic 68" descr="Heart with solid fill">
              <a:extLst>
                <a:ext uri="{FF2B5EF4-FFF2-40B4-BE49-F238E27FC236}">
                  <a16:creationId xmlns:a16="http://schemas.microsoft.com/office/drawing/2014/main" id="{01D74034-1E86-25FD-986C-7DCC69EF87F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54738" y="1200034"/>
              <a:ext cx="127793" cy="127793"/>
            </a:xfrm>
            <a:prstGeom prst="rect">
              <a:avLst/>
            </a:prstGeom>
          </p:spPr>
        </p:pic>
        <p:pic>
          <p:nvPicPr>
            <p:cNvPr id="70" name="Graphic 69" descr="Heart with solid fill">
              <a:extLst>
                <a:ext uri="{FF2B5EF4-FFF2-40B4-BE49-F238E27FC236}">
                  <a16:creationId xmlns:a16="http://schemas.microsoft.com/office/drawing/2014/main" id="{F7448EA9-6CB3-5631-8A28-95624C142A0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92859" y="1195891"/>
              <a:ext cx="127793" cy="127793"/>
            </a:xfrm>
            <a:prstGeom prst="rect">
              <a:avLst/>
            </a:prstGeom>
          </p:spPr>
        </p:pic>
        <p:pic>
          <p:nvPicPr>
            <p:cNvPr id="71" name="Graphic 70" descr="Heart with solid fill">
              <a:extLst>
                <a:ext uri="{FF2B5EF4-FFF2-40B4-BE49-F238E27FC236}">
                  <a16:creationId xmlns:a16="http://schemas.microsoft.com/office/drawing/2014/main" id="{9038899C-7B6E-2CB2-B126-83572C1B2C7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30980" y="1200033"/>
              <a:ext cx="127793" cy="127793"/>
            </a:xfrm>
            <a:prstGeom prst="rect">
              <a:avLst/>
            </a:prstGeom>
          </p:spPr>
        </p:pic>
        <p:pic>
          <p:nvPicPr>
            <p:cNvPr id="72" name="Graphic 71" descr="Heart with solid fill">
              <a:extLst>
                <a:ext uri="{FF2B5EF4-FFF2-40B4-BE49-F238E27FC236}">
                  <a16:creationId xmlns:a16="http://schemas.microsoft.com/office/drawing/2014/main" id="{35AE146E-2F45-323E-B597-1D40402E388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69101" y="1195891"/>
              <a:ext cx="127793" cy="127793"/>
            </a:xfrm>
            <a:prstGeom prst="rect">
              <a:avLst/>
            </a:prstGeom>
          </p:spPr>
        </p:pic>
        <p:pic>
          <p:nvPicPr>
            <p:cNvPr id="74" name="Graphic 73" descr="Shuffle with solid fill">
              <a:extLst>
                <a:ext uri="{FF2B5EF4-FFF2-40B4-BE49-F238E27FC236}">
                  <a16:creationId xmlns:a16="http://schemas.microsoft.com/office/drawing/2014/main" id="{3EADB04E-3CB1-6041-D9F3-B17BDCDFC35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42654" y="1082268"/>
              <a:ext cx="203523" cy="203523"/>
            </a:xfrm>
            <a:prstGeom prst="rect">
              <a:avLst/>
            </a:prstGeom>
          </p:spPr>
        </p:pic>
      </p:grpSp>
      <p:grpSp>
        <p:nvGrpSpPr>
          <p:cNvPr id="78" name="Group 77">
            <a:extLst>
              <a:ext uri="{FF2B5EF4-FFF2-40B4-BE49-F238E27FC236}">
                <a16:creationId xmlns:a16="http://schemas.microsoft.com/office/drawing/2014/main" id="{D6946F35-00B4-4DC1-A570-59286B7C6EF9}"/>
              </a:ext>
            </a:extLst>
          </p:cNvPr>
          <p:cNvGrpSpPr/>
          <p:nvPr/>
        </p:nvGrpSpPr>
        <p:grpSpPr>
          <a:xfrm>
            <a:off x="3966599" y="3989994"/>
            <a:ext cx="886746" cy="278023"/>
            <a:chOff x="8980292" y="1029582"/>
            <a:chExt cx="1011645" cy="317183"/>
          </a:xfrm>
        </p:grpSpPr>
        <p:sp>
          <p:nvSpPr>
            <p:cNvPr id="79" name="Rectangle 78">
              <a:extLst>
                <a:ext uri="{FF2B5EF4-FFF2-40B4-BE49-F238E27FC236}">
                  <a16:creationId xmlns:a16="http://schemas.microsoft.com/office/drawing/2014/main" id="{A73E0268-0C98-5AED-74D6-E8FE21AE6318}"/>
                </a:ext>
              </a:extLst>
            </p:cNvPr>
            <p:cNvSpPr/>
            <p:nvPr/>
          </p:nvSpPr>
          <p:spPr>
            <a:xfrm>
              <a:off x="8980292" y="1029582"/>
              <a:ext cx="1011645" cy="317183"/>
            </a:xfrm>
            <a:prstGeom prst="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0" name="Graphic 79" descr="Heart with solid fill">
              <a:extLst>
                <a:ext uri="{FF2B5EF4-FFF2-40B4-BE49-F238E27FC236}">
                  <a16:creationId xmlns:a16="http://schemas.microsoft.com/office/drawing/2014/main" id="{810D95DD-E173-9561-E84F-BBD107D910E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15051" y="1060380"/>
              <a:ext cx="127793" cy="127793"/>
            </a:xfrm>
            <a:prstGeom prst="rect">
              <a:avLst/>
            </a:prstGeom>
          </p:spPr>
        </p:pic>
        <p:pic>
          <p:nvPicPr>
            <p:cNvPr id="81" name="Graphic 80" descr="Heart with solid fill">
              <a:extLst>
                <a:ext uri="{FF2B5EF4-FFF2-40B4-BE49-F238E27FC236}">
                  <a16:creationId xmlns:a16="http://schemas.microsoft.com/office/drawing/2014/main" id="{D6551524-AAB0-9E1E-7E46-A26F5EF30A4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54738" y="1060380"/>
              <a:ext cx="127793" cy="127793"/>
            </a:xfrm>
            <a:prstGeom prst="rect">
              <a:avLst/>
            </a:prstGeom>
          </p:spPr>
        </p:pic>
        <p:pic>
          <p:nvPicPr>
            <p:cNvPr id="82" name="Graphic 81" descr="Heart with solid fill">
              <a:extLst>
                <a:ext uri="{FF2B5EF4-FFF2-40B4-BE49-F238E27FC236}">
                  <a16:creationId xmlns:a16="http://schemas.microsoft.com/office/drawing/2014/main" id="{89D57EE2-F6C0-B09A-3E55-171CA4A88B5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92859" y="1056237"/>
              <a:ext cx="127793" cy="127793"/>
            </a:xfrm>
            <a:prstGeom prst="rect">
              <a:avLst/>
            </a:prstGeom>
          </p:spPr>
        </p:pic>
        <p:pic>
          <p:nvPicPr>
            <p:cNvPr id="83" name="Graphic 82" descr="Heart with solid fill">
              <a:extLst>
                <a:ext uri="{FF2B5EF4-FFF2-40B4-BE49-F238E27FC236}">
                  <a16:creationId xmlns:a16="http://schemas.microsoft.com/office/drawing/2014/main" id="{1294CDE2-29EB-D87D-D6B1-74C64FF66A7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30980" y="1060379"/>
              <a:ext cx="127793" cy="127793"/>
            </a:xfrm>
            <a:prstGeom prst="rect">
              <a:avLst/>
            </a:prstGeom>
          </p:spPr>
        </p:pic>
        <p:pic>
          <p:nvPicPr>
            <p:cNvPr id="84" name="Graphic 83" descr="Heart with solid fill">
              <a:extLst>
                <a:ext uri="{FF2B5EF4-FFF2-40B4-BE49-F238E27FC236}">
                  <a16:creationId xmlns:a16="http://schemas.microsoft.com/office/drawing/2014/main" id="{3B82B083-2212-E6DE-C3F0-44C8D9E5630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69101" y="1056237"/>
              <a:ext cx="127793" cy="127793"/>
            </a:xfrm>
            <a:prstGeom prst="rect">
              <a:avLst/>
            </a:prstGeom>
          </p:spPr>
        </p:pic>
        <p:pic>
          <p:nvPicPr>
            <p:cNvPr id="85" name="Graphic 84" descr="Heart with solid fill">
              <a:extLst>
                <a:ext uri="{FF2B5EF4-FFF2-40B4-BE49-F238E27FC236}">
                  <a16:creationId xmlns:a16="http://schemas.microsoft.com/office/drawing/2014/main" id="{945D1742-A420-8D08-ED8D-71ADE58669D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15051" y="1200034"/>
              <a:ext cx="127793" cy="127793"/>
            </a:xfrm>
            <a:prstGeom prst="rect">
              <a:avLst/>
            </a:prstGeom>
          </p:spPr>
        </p:pic>
        <p:pic>
          <p:nvPicPr>
            <p:cNvPr id="86" name="Graphic 85" descr="Heart with solid fill">
              <a:extLst>
                <a:ext uri="{FF2B5EF4-FFF2-40B4-BE49-F238E27FC236}">
                  <a16:creationId xmlns:a16="http://schemas.microsoft.com/office/drawing/2014/main" id="{F8747118-6710-F64B-8256-C5DD3F96E21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54738" y="1200034"/>
              <a:ext cx="127793" cy="127793"/>
            </a:xfrm>
            <a:prstGeom prst="rect">
              <a:avLst/>
            </a:prstGeom>
          </p:spPr>
        </p:pic>
        <p:pic>
          <p:nvPicPr>
            <p:cNvPr id="87" name="Graphic 86" descr="Heart with solid fill">
              <a:extLst>
                <a:ext uri="{FF2B5EF4-FFF2-40B4-BE49-F238E27FC236}">
                  <a16:creationId xmlns:a16="http://schemas.microsoft.com/office/drawing/2014/main" id="{D9427257-0805-F06A-C713-1F6AC530414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92859" y="1195891"/>
              <a:ext cx="127793" cy="127793"/>
            </a:xfrm>
            <a:prstGeom prst="rect">
              <a:avLst/>
            </a:prstGeom>
          </p:spPr>
        </p:pic>
        <p:pic>
          <p:nvPicPr>
            <p:cNvPr id="88" name="Graphic 87" descr="Heart with solid fill">
              <a:extLst>
                <a:ext uri="{FF2B5EF4-FFF2-40B4-BE49-F238E27FC236}">
                  <a16:creationId xmlns:a16="http://schemas.microsoft.com/office/drawing/2014/main" id="{2DF78D25-0AFF-DC8E-D3DD-F8507660F34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30980" y="1200033"/>
              <a:ext cx="127793" cy="127793"/>
            </a:xfrm>
            <a:prstGeom prst="rect">
              <a:avLst/>
            </a:prstGeom>
          </p:spPr>
        </p:pic>
        <p:pic>
          <p:nvPicPr>
            <p:cNvPr id="89" name="Graphic 88" descr="Heart with solid fill">
              <a:extLst>
                <a:ext uri="{FF2B5EF4-FFF2-40B4-BE49-F238E27FC236}">
                  <a16:creationId xmlns:a16="http://schemas.microsoft.com/office/drawing/2014/main" id="{7A26A2C3-F648-269F-EC80-FD7E29B2C72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69101" y="1195891"/>
              <a:ext cx="127793" cy="127793"/>
            </a:xfrm>
            <a:prstGeom prst="rect">
              <a:avLst/>
            </a:prstGeom>
          </p:spPr>
        </p:pic>
        <p:pic>
          <p:nvPicPr>
            <p:cNvPr id="90" name="Graphic 89" descr="Shuffle with solid fill">
              <a:extLst>
                <a:ext uri="{FF2B5EF4-FFF2-40B4-BE49-F238E27FC236}">
                  <a16:creationId xmlns:a16="http://schemas.microsoft.com/office/drawing/2014/main" id="{1DBB3226-049C-450E-B257-F61C0CBCE30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42654" y="1082268"/>
              <a:ext cx="203523" cy="203523"/>
            </a:xfrm>
            <a:prstGeom prst="rect">
              <a:avLst/>
            </a:prstGeom>
          </p:spPr>
        </p:pic>
      </p:grpSp>
      <p:sp>
        <p:nvSpPr>
          <p:cNvPr id="91" name="TextBox 90">
            <a:extLst>
              <a:ext uri="{FF2B5EF4-FFF2-40B4-BE49-F238E27FC236}">
                <a16:creationId xmlns:a16="http://schemas.microsoft.com/office/drawing/2014/main" id="{F90B8ABB-11F2-58EE-5F6C-E1873CC506BA}"/>
              </a:ext>
            </a:extLst>
          </p:cNvPr>
          <p:cNvSpPr txBox="1"/>
          <p:nvPr/>
        </p:nvSpPr>
        <p:spPr>
          <a:xfrm>
            <a:off x="7462905" y="5617094"/>
            <a:ext cx="961660" cy="369332"/>
          </a:xfrm>
          <a:prstGeom prst="rect">
            <a:avLst/>
          </a:prstGeom>
          <a:noFill/>
        </p:spPr>
        <p:txBody>
          <a:bodyPr wrap="square" rtlCol="0">
            <a:spAutoFit/>
          </a:bodyPr>
          <a:lstStyle/>
          <a:p>
            <a:pPr algn="ctr"/>
            <a:r>
              <a:rPr lang="en-US" dirty="0">
                <a:solidFill>
                  <a:schemeClr val="tx2"/>
                </a:solidFill>
                <a:latin typeface="+mj-lt"/>
              </a:rPr>
              <a:t>Citrix</a:t>
            </a:r>
          </a:p>
        </p:txBody>
      </p:sp>
      <p:sp>
        <p:nvSpPr>
          <p:cNvPr id="92" name="TextBox 91">
            <a:extLst>
              <a:ext uri="{FF2B5EF4-FFF2-40B4-BE49-F238E27FC236}">
                <a16:creationId xmlns:a16="http://schemas.microsoft.com/office/drawing/2014/main" id="{111EEC30-5960-2E99-5A1D-D0B1A77DA17B}"/>
              </a:ext>
            </a:extLst>
          </p:cNvPr>
          <p:cNvSpPr txBox="1"/>
          <p:nvPr/>
        </p:nvSpPr>
        <p:spPr>
          <a:xfrm>
            <a:off x="8454325" y="5627577"/>
            <a:ext cx="1399921" cy="369332"/>
          </a:xfrm>
          <a:prstGeom prst="rect">
            <a:avLst/>
          </a:prstGeom>
          <a:noFill/>
        </p:spPr>
        <p:txBody>
          <a:bodyPr wrap="square" rtlCol="0">
            <a:spAutoFit/>
          </a:bodyPr>
          <a:lstStyle/>
          <a:p>
            <a:pPr algn="ctr"/>
            <a:r>
              <a:rPr lang="en-US" dirty="0">
                <a:solidFill>
                  <a:schemeClr val="tx2"/>
                </a:solidFill>
                <a:latin typeface="+mj-lt"/>
              </a:rPr>
              <a:t>SQL-DB</a:t>
            </a:r>
          </a:p>
        </p:txBody>
      </p:sp>
      <p:grpSp>
        <p:nvGrpSpPr>
          <p:cNvPr id="19" name="Group 18">
            <a:extLst>
              <a:ext uri="{FF2B5EF4-FFF2-40B4-BE49-F238E27FC236}">
                <a16:creationId xmlns:a16="http://schemas.microsoft.com/office/drawing/2014/main" id="{A7DA486B-7102-A32A-3E21-93A90FDB93A0}"/>
              </a:ext>
            </a:extLst>
          </p:cNvPr>
          <p:cNvGrpSpPr/>
          <p:nvPr/>
        </p:nvGrpSpPr>
        <p:grpSpPr>
          <a:xfrm>
            <a:off x="6556304" y="2605148"/>
            <a:ext cx="2320945" cy="1059611"/>
            <a:chOff x="6957235" y="2942529"/>
            <a:chExt cx="3121159" cy="1424943"/>
          </a:xfrm>
        </p:grpSpPr>
        <p:pic>
          <p:nvPicPr>
            <p:cNvPr id="20" name="Picture 19" descr="A computer with a keyboard and mouse&#10;&#10;AI-generated content may be incorrect.">
              <a:extLst>
                <a:ext uri="{FF2B5EF4-FFF2-40B4-BE49-F238E27FC236}">
                  <a16:creationId xmlns:a16="http://schemas.microsoft.com/office/drawing/2014/main" id="{0BE5C8E7-2C37-D3AD-60A4-1D6C242681DF}"/>
                </a:ext>
              </a:extLst>
            </p:cNvPr>
            <p:cNvPicPr>
              <a:picLocks noChangeAspect="1"/>
            </p:cNvPicPr>
            <p:nvPr/>
          </p:nvPicPr>
          <p:blipFill>
            <a:blip r:embed="rId2"/>
            <a:stretch>
              <a:fillRect/>
            </a:stretch>
          </p:blipFill>
          <p:spPr>
            <a:xfrm>
              <a:off x="6957235" y="2942529"/>
              <a:ext cx="3121159" cy="1424943"/>
            </a:xfrm>
            <a:prstGeom prst="rect">
              <a:avLst/>
            </a:prstGeom>
          </p:spPr>
        </p:pic>
        <p:pic>
          <p:nvPicPr>
            <p:cNvPr id="21" name="Graphic 20">
              <a:extLst>
                <a:ext uri="{FF2B5EF4-FFF2-40B4-BE49-F238E27FC236}">
                  <a16:creationId xmlns:a16="http://schemas.microsoft.com/office/drawing/2014/main" id="{18F125E3-95C1-55CE-A61F-452F5F99806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435755">
              <a:off x="7864076" y="3135017"/>
              <a:ext cx="489585" cy="489585"/>
            </a:xfrm>
            <a:prstGeom prst="rect">
              <a:avLst/>
            </a:prstGeom>
          </p:spPr>
        </p:pic>
      </p:grpSp>
      <p:grpSp>
        <p:nvGrpSpPr>
          <p:cNvPr id="22" name="Group 21">
            <a:extLst>
              <a:ext uri="{FF2B5EF4-FFF2-40B4-BE49-F238E27FC236}">
                <a16:creationId xmlns:a16="http://schemas.microsoft.com/office/drawing/2014/main" id="{5BDA22BB-DABE-424E-F9DD-834E94D339DB}"/>
              </a:ext>
            </a:extLst>
          </p:cNvPr>
          <p:cNvGrpSpPr/>
          <p:nvPr/>
        </p:nvGrpSpPr>
        <p:grpSpPr>
          <a:xfrm>
            <a:off x="8426158" y="2612337"/>
            <a:ext cx="2320945" cy="1059611"/>
            <a:chOff x="6957235" y="2942529"/>
            <a:chExt cx="3121159" cy="1424943"/>
          </a:xfrm>
        </p:grpSpPr>
        <p:pic>
          <p:nvPicPr>
            <p:cNvPr id="23" name="Picture 22" descr="A computer with a keyboard and mouse&#10;&#10;AI-generated content may be incorrect.">
              <a:extLst>
                <a:ext uri="{FF2B5EF4-FFF2-40B4-BE49-F238E27FC236}">
                  <a16:creationId xmlns:a16="http://schemas.microsoft.com/office/drawing/2014/main" id="{0F673DAE-3E41-C04B-309D-DD0FAE14C1BC}"/>
                </a:ext>
              </a:extLst>
            </p:cNvPr>
            <p:cNvPicPr>
              <a:picLocks noChangeAspect="1"/>
            </p:cNvPicPr>
            <p:nvPr/>
          </p:nvPicPr>
          <p:blipFill>
            <a:blip r:embed="rId2"/>
            <a:stretch>
              <a:fillRect/>
            </a:stretch>
          </p:blipFill>
          <p:spPr>
            <a:xfrm>
              <a:off x="6957235" y="2942529"/>
              <a:ext cx="3121159" cy="1424943"/>
            </a:xfrm>
            <a:prstGeom prst="rect">
              <a:avLst/>
            </a:prstGeom>
          </p:spPr>
        </p:pic>
        <p:pic>
          <p:nvPicPr>
            <p:cNvPr id="24" name="Graphic 23">
              <a:extLst>
                <a:ext uri="{FF2B5EF4-FFF2-40B4-BE49-F238E27FC236}">
                  <a16:creationId xmlns:a16="http://schemas.microsoft.com/office/drawing/2014/main" id="{3F9F2A98-2133-DC51-DDBE-7EA677FB697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435755">
              <a:off x="7864076" y="3135017"/>
              <a:ext cx="489585" cy="489585"/>
            </a:xfrm>
            <a:prstGeom prst="rect">
              <a:avLst/>
            </a:prstGeom>
          </p:spPr>
        </p:pic>
      </p:grpSp>
      <p:grpSp>
        <p:nvGrpSpPr>
          <p:cNvPr id="25" name="Group 24">
            <a:extLst>
              <a:ext uri="{FF2B5EF4-FFF2-40B4-BE49-F238E27FC236}">
                <a16:creationId xmlns:a16="http://schemas.microsoft.com/office/drawing/2014/main" id="{63BED7CC-072C-1C5D-7521-C90B93C2B5D7}"/>
              </a:ext>
            </a:extLst>
          </p:cNvPr>
          <p:cNvGrpSpPr/>
          <p:nvPr/>
        </p:nvGrpSpPr>
        <p:grpSpPr>
          <a:xfrm>
            <a:off x="1575796" y="2528880"/>
            <a:ext cx="2320945" cy="1059611"/>
            <a:chOff x="6957235" y="2942529"/>
            <a:chExt cx="3121159" cy="1424943"/>
          </a:xfrm>
        </p:grpSpPr>
        <p:pic>
          <p:nvPicPr>
            <p:cNvPr id="26" name="Picture 25" descr="A computer with a keyboard and mouse&#10;&#10;AI-generated content may be incorrect.">
              <a:extLst>
                <a:ext uri="{FF2B5EF4-FFF2-40B4-BE49-F238E27FC236}">
                  <a16:creationId xmlns:a16="http://schemas.microsoft.com/office/drawing/2014/main" id="{B89E0651-5837-D2FC-E61C-24BD81D96262}"/>
                </a:ext>
              </a:extLst>
            </p:cNvPr>
            <p:cNvPicPr>
              <a:picLocks noChangeAspect="1"/>
            </p:cNvPicPr>
            <p:nvPr/>
          </p:nvPicPr>
          <p:blipFill>
            <a:blip r:embed="rId2"/>
            <a:stretch>
              <a:fillRect/>
            </a:stretch>
          </p:blipFill>
          <p:spPr>
            <a:xfrm>
              <a:off x="6957235" y="2942529"/>
              <a:ext cx="3121159" cy="1424943"/>
            </a:xfrm>
            <a:prstGeom prst="rect">
              <a:avLst/>
            </a:prstGeom>
          </p:spPr>
        </p:pic>
        <p:pic>
          <p:nvPicPr>
            <p:cNvPr id="27" name="Graphic 26">
              <a:extLst>
                <a:ext uri="{FF2B5EF4-FFF2-40B4-BE49-F238E27FC236}">
                  <a16:creationId xmlns:a16="http://schemas.microsoft.com/office/drawing/2014/main" id="{C0D28617-65E3-D3FD-E67E-EBE7BE7788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435755">
              <a:off x="7864076" y="3135017"/>
              <a:ext cx="489585" cy="489585"/>
            </a:xfrm>
            <a:prstGeom prst="rect">
              <a:avLst/>
            </a:prstGeom>
          </p:spPr>
        </p:pic>
      </p:grpSp>
      <p:grpSp>
        <p:nvGrpSpPr>
          <p:cNvPr id="28" name="Group 27">
            <a:extLst>
              <a:ext uri="{FF2B5EF4-FFF2-40B4-BE49-F238E27FC236}">
                <a16:creationId xmlns:a16="http://schemas.microsoft.com/office/drawing/2014/main" id="{F62810FB-A6C4-6504-988C-0E0B1B299481}"/>
              </a:ext>
            </a:extLst>
          </p:cNvPr>
          <p:cNvGrpSpPr/>
          <p:nvPr/>
        </p:nvGrpSpPr>
        <p:grpSpPr>
          <a:xfrm>
            <a:off x="3445650" y="2536069"/>
            <a:ext cx="2320945" cy="1059611"/>
            <a:chOff x="6957235" y="2942529"/>
            <a:chExt cx="3121159" cy="1424943"/>
          </a:xfrm>
        </p:grpSpPr>
        <p:pic>
          <p:nvPicPr>
            <p:cNvPr id="29" name="Picture 28" descr="A computer with a keyboard and mouse&#10;&#10;AI-generated content may be incorrect.">
              <a:extLst>
                <a:ext uri="{FF2B5EF4-FFF2-40B4-BE49-F238E27FC236}">
                  <a16:creationId xmlns:a16="http://schemas.microsoft.com/office/drawing/2014/main" id="{2B59FD08-C6FE-A0F7-8B53-8EDD846B0206}"/>
                </a:ext>
              </a:extLst>
            </p:cNvPr>
            <p:cNvPicPr>
              <a:picLocks noChangeAspect="1"/>
            </p:cNvPicPr>
            <p:nvPr/>
          </p:nvPicPr>
          <p:blipFill>
            <a:blip r:embed="rId2"/>
            <a:stretch>
              <a:fillRect/>
            </a:stretch>
          </p:blipFill>
          <p:spPr>
            <a:xfrm>
              <a:off x="6957235" y="2942529"/>
              <a:ext cx="3121159" cy="1424943"/>
            </a:xfrm>
            <a:prstGeom prst="rect">
              <a:avLst/>
            </a:prstGeom>
          </p:spPr>
        </p:pic>
        <p:pic>
          <p:nvPicPr>
            <p:cNvPr id="30" name="Graphic 29">
              <a:extLst>
                <a:ext uri="{FF2B5EF4-FFF2-40B4-BE49-F238E27FC236}">
                  <a16:creationId xmlns:a16="http://schemas.microsoft.com/office/drawing/2014/main" id="{BFC51765-4DBF-F6EA-A7B0-EA385CD8A5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435755">
              <a:off x="7864076" y="3135017"/>
              <a:ext cx="489585" cy="489585"/>
            </a:xfrm>
            <a:prstGeom prst="rect">
              <a:avLst/>
            </a:prstGeom>
          </p:spPr>
        </p:pic>
      </p:grpSp>
    </p:spTree>
    <p:extLst>
      <p:ext uri="{BB962C8B-B14F-4D97-AF65-F5344CB8AC3E}">
        <p14:creationId xmlns:p14="http://schemas.microsoft.com/office/powerpoint/2010/main" val="2487804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0D2988-9E8A-7AB9-3E93-BFBBD808D112}"/>
            </a:ext>
          </a:extLst>
        </p:cNvPr>
        <p:cNvGrpSpPr/>
        <p:nvPr/>
      </p:nvGrpSpPr>
      <p:grpSpPr>
        <a:xfrm>
          <a:off x="0" y="0"/>
          <a:ext cx="0" cy="0"/>
          <a:chOff x="0" y="0"/>
          <a:chExt cx="0" cy="0"/>
        </a:xfrm>
      </p:grpSpPr>
      <p:sp>
        <p:nvSpPr>
          <p:cNvPr id="65" name="Rectangle: Rounded Corners 64">
            <a:extLst>
              <a:ext uri="{FF2B5EF4-FFF2-40B4-BE49-F238E27FC236}">
                <a16:creationId xmlns:a16="http://schemas.microsoft.com/office/drawing/2014/main" id="{FBDB4ABE-AEC3-4208-E59E-41A54592157B}"/>
              </a:ext>
            </a:extLst>
          </p:cNvPr>
          <p:cNvSpPr>
            <a:spLocks noGrp="1" noRot="1" noMove="1" noResize="1" noEditPoints="1" noAdjustHandles="1" noChangeArrowheads="1" noChangeShapeType="1"/>
          </p:cNvSpPr>
          <p:nvPr/>
        </p:nvSpPr>
        <p:spPr>
          <a:xfrm rot="5400000">
            <a:off x="3359183" y="-1974816"/>
            <a:ext cx="5473633" cy="12192000"/>
          </a:xfrm>
          <a:prstGeom prst="roundRect">
            <a:avLst>
              <a:gd name="adj" fmla="val 0"/>
            </a:avLst>
          </a:prstGeom>
          <a:gradFill flip="none" rotWithShape="1">
            <a:gsLst>
              <a:gs pos="9000">
                <a:schemeClr val="accent1">
                  <a:lumMod val="5000"/>
                  <a:lumOff val="95000"/>
                  <a:alpha val="0"/>
                </a:schemeClr>
              </a:gs>
              <a:gs pos="100000">
                <a:schemeClr val="accent1">
                  <a:alpha val="13000"/>
                </a:schemeClr>
              </a:gs>
            </a:gsLst>
            <a:lin ang="9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descr="A computer with a keyboard and mouse&#10;&#10;AI-generated content may be incorrect.">
            <a:extLst>
              <a:ext uri="{FF2B5EF4-FFF2-40B4-BE49-F238E27FC236}">
                <a16:creationId xmlns:a16="http://schemas.microsoft.com/office/drawing/2014/main" id="{57ED72B1-46D2-5A48-D079-F82852F0B1AA}"/>
              </a:ext>
            </a:extLst>
          </p:cNvPr>
          <p:cNvPicPr>
            <a:picLocks noChangeAspect="1"/>
          </p:cNvPicPr>
          <p:nvPr/>
        </p:nvPicPr>
        <p:blipFill>
          <a:blip r:embed="rId2"/>
          <a:srcRect l="63681"/>
          <a:stretch>
            <a:fillRect/>
          </a:stretch>
        </p:blipFill>
        <p:spPr>
          <a:xfrm>
            <a:off x="5340652" y="3294710"/>
            <a:ext cx="1555885" cy="1955751"/>
          </a:xfrm>
          <a:prstGeom prst="rect">
            <a:avLst/>
          </a:prstGeom>
        </p:spPr>
      </p:pic>
      <p:pic>
        <p:nvPicPr>
          <p:cNvPr id="33" name="Graphic 32" descr="Database with solid fill">
            <a:extLst>
              <a:ext uri="{FF2B5EF4-FFF2-40B4-BE49-F238E27FC236}">
                <a16:creationId xmlns:a16="http://schemas.microsoft.com/office/drawing/2014/main" id="{9817F615-CF05-DEE6-7EB2-4A7340935D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42797" y="4307977"/>
            <a:ext cx="1055371" cy="1055371"/>
          </a:xfrm>
          <a:prstGeom prst="rect">
            <a:avLst/>
          </a:prstGeom>
        </p:spPr>
      </p:pic>
      <p:cxnSp>
        <p:nvCxnSpPr>
          <p:cNvPr id="43" name="Straight Arrow Connector 42">
            <a:extLst>
              <a:ext uri="{FF2B5EF4-FFF2-40B4-BE49-F238E27FC236}">
                <a16:creationId xmlns:a16="http://schemas.microsoft.com/office/drawing/2014/main" id="{035D8917-86B9-EB7F-28AD-E3EE32E652BB}"/>
              </a:ext>
            </a:extLst>
          </p:cNvPr>
          <p:cNvCxnSpPr/>
          <p:nvPr/>
        </p:nvCxnSpPr>
        <p:spPr>
          <a:xfrm flipH="1">
            <a:off x="6445328" y="3092823"/>
            <a:ext cx="1388746" cy="5654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95E3E810-056E-E5A5-2EF7-579647524E99}"/>
              </a:ext>
            </a:extLst>
          </p:cNvPr>
          <p:cNvCxnSpPr>
            <a:cxnSpLocks/>
          </p:cNvCxnSpPr>
          <p:nvPr/>
        </p:nvCxnSpPr>
        <p:spPr>
          <a:xfrm flipH="1">
            <a:off x="6492948" y="4272586"/>
            <a:ext cx="123182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CD2C09E4-B4AE-0726-3C6B-23A288EC03B7}"/>
              </a:ext>
            </a:extLst>
          </p:cNvPr>
          <p:cNvCxnSpPr>
            <a:cxnSpLocks/>
          </p:cNvCxnSpPr>
          <p:nvPr/>
        </p:nvCxnSpPr>
        <p:spPr>
          <a:xfrm flipH="1" flipV="1">
            <a:off x="6392563" y="4791579"/>
            <a:ext cx="1165120" cy="5383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6E2E9C0D-177C-8DC2-6139-DB8C0AE13E14}"/>
              </a:ext>
            </a:extLst>
          </p:cNvPr>
          <p:cNvCxnSpPr>
            <a:cxnSpLocks/>
          </p:cNvCxnSpPr>
          <p:nvPr/>
        </p:nvCxnSpPr>
        <p:spPr>
          <a:xfrm>
            <a:off x="3372219" y="3003292"/>
            <a:ext cx="1819160" cy="573146"/>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521C9B4F-1564-D550-FAE7-5CCDB732A8FE}"/>
              </a:ext>
            </a:extLst>
          </p:cNvPr>
          <p:cNvCxnSpPr>
            <a:cxnSpLocks/>
          </p:cNvCxnSpPr>
          <p:nvPr/>
        </p:nvCxnSpPr>
        <p:spPr>
          <a:xfrm flipV="1">
            <a:off x="3620235" y="4335351"/>
            <a:ext cx="1495003" cy="15529"/>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E80A453C-9ADF-E049-6114-5F4CC43E42B3}"/>
              </a:ext>
            </a:extLst>
          </p:cNvPr>
          <p:cNvCxnSpPr>
            <a:cxnSpLocks/>
          </p:cNvCxnSpPr>
          <p:nvPr/>
        </p:nvCxnSpPr>
        <p:spPr>
          <a:xfrm flipV="1">
            <a:off x="3567311" y="5015528"/>
            <a:ext cx="1578874" cy="542912"/>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3" name="Titel 2">
            <a:extLst>
              <a:ext uri="{FF2B5EF4-FFF2-40B4-BE49-F238E27FC236}">
                <a16:creationId xmlns:a16="http://schemas.microsoft.com/office/drawing/2014/main" id="{913E6580-ABBE-E367-CEE4-2C8625E6E416}"/>
              </a:ext>
            </a:extLst>
          </p:cNvPr>
          <p:cNvSpPr>
            <a:spLocks noGrp="1"/>
          </p:cNvSpPr>
          <p:nvPr>
            <p:ph type="title"/>
          </p:nvPr>
        </p:nvSpPr>
        <p:spPr/>
        <p:txBody>
          <a:bodyPr/>
          <a:lstStyle/>
          <a:p>
            <a:r>
              <a:rPr lang="en-US" noProof="0" dirty="0"/>
              <a:t>Mixed Configuration</a:t>
            </a:r>
          </a:p>
        </p:txBody>
      </p:sp>
      <p:sp>
        <p:nvSpPr>
          <p:cNvPr id="7" name="Text Placeholder 6">
            <a:extLst>
              <a:ext uri="{FF2B5EF4-FFF2-40B4-BE49-F238E27FC236}">
                <a16:creationId xmlns:a16="http://schemas.microsoft.com/office/drawing/2014/main" id="{86A9ED5E-F407-6EB9-EB0B-2FF44363606C}"/>
              </a:ext>
            </a:extLst>
          </p:cNvPr>
          <p:cNvSpPr>
            <a:spLocks noGrp="1"/>
          </p:cNvSpPr>
          <p:nvPr>
            <p:ph type="body" sz="half" idx="2"/>
          </p:nvPr>
        </p:nvSpPr>
        <p:spPr>
          <a:xfrm>
            <a:off x="371476" y="1566000"/>
            <a:ext cx="11485562" cy="307141"/>
          </a:xfrm>
        </p:spPr>
        <p:txBody>
          <a:bodyPr/>
          <a:lstStyle/>
          <a:p>
            <a:r>
              <a:rPr lang="en-US" noProof="0" dirty="0"/>
              <a:t>ValSuite is flexible to combine several setups  </a:t>
            </a:r>
          </a:p>
        </p:txBody>
      </p:sp>
      <p:grpSp>
        <p:nvGrpSpPr>
          <p:cNvPr id="15" name="Group 14">
            <a:extLst>
              <a:ext uri="{FF2B5EF4-FFF2-40B4-BE49-F238E27FC236}">
                <a16:creationId xmlns:a16="http://schemas.microsoft.com/office/drawing/2014/main" id="{6D524F95-8542-8CBC-4962-A22FA4EAAA00}"/>
              </a:ext>
            </a:extLst>
          </p:cNvPr>
          <p:cNvGrpSpPr/>
          <p:nvPr/>
        </p:nvGrpSpPr>
        <p:grpSpPr>
          <a:xfrm>
            <a:off x="2146722" y="2242723"/>
            <a:ext cx="1819815" cy="1247072"/>
            <a:chOff x="1694420" y="4001191"/>
            <a:chExt cx="1819815" cy="1247072"/>
          </a:xfrm>
        </p:grpSpPr>
        <p:pic>
          <p:nvPicPr>
            <p:cNvPr id="9" name="Picture 8" descr="A computer with a check mark on the screen&#10;&#10;AI-generated content may be incorrect.">
              <a:extLst>
                <a:ext uri="{FF2B5EF4-FFF2-40B4-BE49-F238E27FC236}">
                  <a16:creationId xmlns:a16="http://schemas.microsoft.com/office/drawing/2014/main" id="{4D5CFF13-CACF-6062-B031-6503E1430591}"/>
                </a:ext>
              </a:extLst>
            </p:cNvPr>
            <p:cNvPicPr>
              <a:picLocks noChangeAspect="1"/>
            </p:cNvPicPr>
            <p:nvPr/>
          </p:nvPicPr>
          <p:blipFill>
            <a:blip r:embed="rId5"/>
            <a:stretch>
              <a:fillRect/>
            </a:stretch>
          </p:blipFill>
          <p:spPr>
            <a:xfrm>
              <a:off x="1694420" y="4001191"/>
              <a:ext cx="1819815" cy="1247072"/>
            </a:xfrm>
            <a:prstGeom prst="rect">
              <a:avLst/>
            </a:prstGeom>
          </p:spPr>
        </p:pic>
        <p:pic>
          <p:nvPicPr>
            <p:cNvPr id="14" name="Graphic 13" descr="Database with solid fill">
              <a:extLst>
                <a:ext uri="{FF2B5EF4-FFF2-40B4-BE49-F238E27FC236}">
                  <a16:creationId xmlns:a16="http://schemas.microsoft.com/office/drawing/2014/main" id="{DBD3E28F-D78A-093F-7210-49FBE2A4C0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66317">
              <a:off x="2750339" y="4341018"/>
              <a:ext cx="339156" cy="339156"/>
            </a:xfrm>
            <a:prstGeom prst="rect">
              <a:avLst/>
            </a:prstGeom>
          </p:spPr>
        </p:pic>
      </p:grpSp>
      <p:grpSp>
        <p:nvGrpSpPr>
          <p:cNvPr id="16" name="Group 15">
            <a:extLst>
              <a:ext uri="{FF2B5EF4-FFF2-40B4-BE49-F238E27FC236}">
                <a16:creationId xmlns:a16="http://schemas.microsoft.com/office/drawing/2014/main" id="{721A74DE-C49D-F87E-AE68-BEAD9EF3C3E4}"/>
              </a:ext>
            </a:extLst>
          </p:cNvPr>
          <p:cNvGrpSpPr/>
          <p:nvPr/>
        </p:nvGrpSpPr>
        <p:grpSpPr>
          <a:xfrm>
            <a:off x="2151167" y="3568089"/>
            <a:ext cx="1819815" cy="1247072"/>
            <a:chOff x="1694420" y="4001191"/>
            <a:chExt cx="1819815" cy="1247072"/>
          </a:xfrm>
        </p:grpSpPr>
        <p:pic>
          <p:nvPicPr>
            <p:cNvPr id="17" name="Picture 16" descr="A computer with a check mark on the screen&#10;&#10;AI-generated content may be incorrect.">
              <a:extLst>
                <a:ext uri="{FF2B5EF4-FFF2-40B4-BE49-F238E27FC236}">
                  <a16:creationId xmlns:a16="http://schemas.microsoft.com/office/drawing/2014/main" id="{3D8FDBF1-E19C-9F2C-D46F-3984DE98DEEF}"/>
                </a:ext>
              </a:extLst>
            </p:cNvPr>
            <p:cNvPicPr>
              <a:picLocks noChangeAspect="1"/>
            </p:cNvPicPr>
            <p:nvPr/>
          </p:nvPicPr>
          <p:blipFill>
            <a:blip r:embed="rId5"/>
            <a:stretch>
              <a:fillRect/>
            </a:stretch>
          </p:blipFill>
          <p:spPr>
            <a:xfrm>
              <a:off x="1694420" y="4001191"/>
              <a:ext cx="1819815" cy="1247072"/>
            </a:xfrm>
            <a:prstGeom prst="rect">
              <a:avLst/>
            </a:prstGeom>
          </p:spPr>
        </p:pic>
        <p:pic>
          <p:nvPicPr>
            <p:cNvPr id="18" name="Graphic 17" descr="Database with solid fill">
              <a:extLst>
                <a:ext uri="{FF2B5EF4-FFF2-40B4-BE49-F238E27FC236}">
                  <a16:creationId xmlns:a16="http://schemas.microsoft.com/office/drawing/2014/main" id="{C1DAA43C-D703-5B82-391E-8B74DE6979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66317">
              <a:off x="2750339" y="4341018"/>
              <a:ext cx="339156" cy="339156"/>
            </a:xfrm>
            <a:prstGeom prst="rect">
              <a:avLst/>
            </a:prstGeom>
          </p:spPr>
        </p:pic>
      </p:grpSp>
      <p:grpSp>
        <p:nvGrpSpPr>
          <p:cNvPr id="19" name="Group 18">
            <a:extLst>
              <a:ext uri="{FF2B5EF4-FFF2-40B4-BE49-F238E27FC236}">
                <a16:creationId xmlns:a16="http://schemas.microsoft.com/office/drawing/2014/main" id="{0A978A1A-ADF4-5DC3-14B1-232F7AAF5B95}"/>
              </a:ext>
            </a:extLst>
          </p:cNvPr>
          <p:cNvGrpSpPr/>
          <p:nvPr/>
        </p:nvGrpSpPr>
        <p:grpSpPr>
          <a:xfrm>
            <a:off x="2146722" y="4853943"/>
            <a:ext cx="1819815" cy="1247072"/>
            <a:chOff x="1694420" y="4001191"/>
            <a:chExt cx="1819815" cy="1247072"/>
          </a:xfrm>
        </p:grpSpPr>
        <p:pic>
          <p:nvPicPr>
            <p:cNvPr id="20" name="Picture 19" descr="A computer with a check mark on the screen&#10;&#10;AI-generated content may be incorrect.">
              <a:extLst>
                <a:ext uri="{FF2B5EF4-FFF2-40B4-BE49-F238E27FC236}">
                  <a16:creationId xmlns:a16="http://schemas.microsoft.com/office/drawing/2014/main" id="{124B9AF7-5E37-7852-7AA8-205F0BCFBCE6}"/>
                </a:ext>
              </a:extLst>
            </p:cNvPr>
            <p:cNvPicPr>
              <a:picLocks noChangeAspect="1"/>
            </p:cNvPicPr>
            <p:nvPr/>
          </p:nvPicPr>
          <p:blipFill>
            <a:blip r:embed="rId5"/>
            <a:stretch>
              <a:fillRect/>
            </a:stretch>
          </p:blipFill>
          <p:spPr>
            <a:xfrm>
              <a:off x="1694420" y="4001191"/>
              <a:ext cx="1819815" cy="1247072"/>
            </a:xfrm>
            <a:prstGeom prst="rect">
              <a:avLst/>
            </a:prstGeom>
          </p:spPr>
        </p:pic>
        <p:pic>
          <p:nvPicPr>
            <p:cNvPr id="21" name="Graphic 20" descr="Database with solid fill">
              <a:extLst>
                <a:ext uri="{FF2B5EF4-FFF2-40B4-BE49-F238E27FC236}">
                  <a16:creationId xmlns:a16="http://schemas.microsoft.com/office/drawing/2014/main" id="{A7467E52-BCEB-CA95-968B-1AB493A4393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66317">
              <a:off x="2750339" y="4341018"/>
              <a:ext cx="339156" cy="339156"/>
            </a:xfrm>
            <a:prstGeom prst="rect">
              <a:avLst/>
            </a:prstGeom>
          </p:spPr>
        </p:pic>
      </p:grpSp>
      <p:grpSp>
        <p:nvGrpSpPr>
          <p:cNvPr id="26" name="Group 25">
            <a:extLst>
              <a:ext uri="{FF2B5EF4-FFF2-40B4-BE49-F238E27FC236}">
                <a16:creationId xmlns:a16="http://schemas.microsoft.com/office/drawing/2014/main" id="{B0B88915-52E1-8829-2171-AFC01F638468}"/>
              </a:ext>
            </a:extLst>
          </p:cNvPr>
          <p:cNvGrpSpPr/>
          <p:nvPr/>
        </p:nvGrpSpPr>
        <p:grpSpPr>
          <a:xfrm>
            <a:off x="6899423" y="2292219"/>
            <a:ext cx="3121159" cy="1424943"/>
            <a:chOff x="6957235" y="2942529"/>
            <a:chExt cx="3121159" cy="1424943"/>
          </a:xfrm>
        </p:grpSpPr>
        <p:pic>
          <p:nvPicPr>
            <p:cNvPr id="23" name="Picture 22" descr="A computer with a keyboard and mouse&#10;&#10;AI-generated content may be incorrect.">
              <a:extLst>
                <a:ext uri="{FF2B5EF4-FFF2-40B4-BE49-F238E27FC236}">
                  <a16:creationId xmlns:a16="http://schemas.microsoft.com/office/drawing/2014/main" id="{AA13B906-CAD5-87BF-5323-F4AF15003C55}"/>
                </a:ext>
              </a:extLst>
            </p:cNvPr>
            <p:cNvPicPr>
              <a:picLocks noChangeAspect="1"/>
            </p:cNvPicPr>
            <p:nvPr/>
          </p:nvPicPr>
          <p:blipFill>
            <a:blip r:embed="rId2"/>
            <a:stretch>
              <a:fillRect/>
            </a:stretch>
          </p:blipFill>
          <p:spPr>
            <a:xfrm>
              <a:off x="6957235" y="2942529"/>
              <a:ext cx="3121159" cy="1424943"/>
            </a:xfrm>
            <a:prstGeom prst="rect">
              <a:avLst/>
            </a:prstGeom>
          </p:spPr>
        </p:pic>
        <p:pic>
          <p:nvPicPr>
            <p:cNvPr id="25" name="Graphic 24">
              <a:extLst>
                <a:ext uri="{FF2B5EF4-FFF2-40B4-BE49-F238E27FC236}">
                  <a16:creationId xmlns:a16="http://schemas.microsoft.com/office/drawing/2014/main" id="{4B555222-13C9-27DD-746A-572D045425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435755">
              <a:off x="7864076" y="3135017"/>
              <a:ext cx="489585" cy="489585"/>
            </a:xfrm>
            <a:prstGeom prst="rect">
              <a:avLst/>
            </a:prstGeom>
          </p:spPr>
        </p:pic>
      </p:grpSp>
      <p:grpSp>
        <p:nvGrpSpPr>
          <p:cNvPr id="27" name="Group 26">
            <a:extLst>
              <a:ext uri="{FF2B5EF4-FFF2-40B4-BE49-F238E27FC236}">
                <a16:creationId xmlns:a16="http://schemas.microsoft.com/office/drawing/2014/main" id="{4C626CE3-6BAA-4B4B-C5C2-C2F18FBCFD0B}"/>
              </a:ext>
            </a:extLst>
          </p:cNvPr>
          <p:cNvGrpSpPr/>
          <p:nvPr/>
        </p:nvGrpSpPr>
        <p:grpSpPr>
          <a:xfrm>
            <a:off x="6919674" y="3663323"/>
            <a:ext cx="3121159" cy="1424943"/>
            <a:chOff x="6957235" y="2942529"/>
            <a:chExt cx="3121159" cy="1424943"/>
          </a:xfrm>
        </p:grpSpPr>
        <p:pic>
          <p:nvPicPr>
            <p:cNvPr id="28" name="Picture 27" descr="A computer with a keyboard and mouse&#10;&#10;AI-generated content may be incorrect.">
              <a:extLst>
                <a:ext uri="{FF2B5EF4-FFF2-40B4-BE49-F238E27FC236}">
                  <a16:creationId xmlns:a16="http://schemas.microsoft.com/office/drawing/2014/main" id="{DFFE0847-9507-5B4E-2817-217860D1DC13}"/>
                </a:ext>
              </a:extLst>
            </p:cNvPr>
            <p:cNvPicPr>
              <a:picLocks noChangeAspect="1"/>
            </p:cNvPicPr>
            <p:nvPr/>
          </p:nvPicPr>
          <p:blipFill>
            <a:blip r:embed="rId2"/>
            <a:stretch>
              <a:fillRect/>
            </a:stretch>
          </p:blipFill>
          <p:spPr>
            <a:xfrm>
              <a:off x="6957235" y="2942529"/>
              <a:ext cx="3121159" cy="1424943"/>
            </a:xfrm>
            <a:prstGeom prst="rect">
              <a:avLst/>
            </a:prstGeom>
          </p:spPr>
        </p:pic>
        <p:pic>
          <p:nvPicPr>
            <p:cNvPr id="29" name="Graphic 28">
              <a:extLst>
                <a:ext uri="{FF2B5EF4-FFF2-40B4-BE49-F238E27FC236}">
                  <a16:creationId xmlns:a16="http://schemas.microsoft.com/office/drawing/2014/main" id="{A37DB62B-B298-D4BD-D3D1-254958A375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435755">
              <a:off x="7864076" y="3135017"/>
              <a:ext cx="489585" cy="489585"/>
            </a:xfrm>
            <a:prstGeom prst="rect">
              <a:avLst/>
            </a:prstGeom>
          </p:spPr>
        </p:pic>
      </p:grpSp>
      <p:grpSp>
        <p:nvGrpSpPr>
          <p:cNvPr id="30" name="Group 29">
            <a:extLst>
              <a:ext uri="{FF2B5EF4-FFF2-40B4-BE49-F238E27FC236}">
                <a16:creationId xmlns:a16="http://schemas.microsoft.com/office/drawing/2014/main" id="{A75135BA-AE01-657F-7FC0-F34455662814}"/>
              </a:ext>
            </a:extLst>
          </p:cNvPr>
          <p:cNvGrpSpPr/>
          <p:nvPr/>
        </p:nvGrpSpPr>
        <p:grpSpPr>
          <a:xfrm>
            <a:off x="6899423" y="5054305"/>
            <a:ext cx="3121159" cy="1424943"/>
            <a:chOff x="6957235" y="2942529"/>
            <a:chExt cx="3121159" cy="1424943"/>
          </a:xfrm>
        </p:grpSpPr>
        <p:pic>
          <p:nvPicPr>
            <p:cNvPr id="31" name="Picture 30" descr="A computer with a keyboard and mouse&#10;&#10;AI-generated content may be incorrect.">
              <a:extLst>
                <a:ext uri="{FF2B5EF4-FFF2-40B4-BE49-F238E27FC236}">
                  <a16:creationId xmlns:a16="http://schemas.microsoft.com/office/drawing/2014/main" id="{77C8F5F8-9ABD-8D44-6AFE-3ED8961BA9AE}"/>
                </a:ext>
              </a:extLst>
            </p:cNvPr>
            <p:cNvPicPr>
              <a:picLocks noChangeAspect="1"/>
            </p:cNvPicPr>
            <p:nvPr/>
          </p:nvPicPr>
          <p:blipFill>
            <a:blip r:embed="rId2"/>
            <a:stretch>
              <a:fillRect/>
            </a:stretch>
          </p:blipFill>
          <p:spPr>
            <a:xfrm>
              <a:off x="6957235" y="2942529"/>
              <a:ext cx="3121159" cy="1424943"/>
            </a:xfrm>
            <a:prstGeom prst="rect">
              <a:avLst/>
            </a:prstGeom>
          </p:spPr>
        </p:pic>
        <p:pic>
          <p:nvPicPr>
            <p:cNvPr id="32" name="Graphic 31">
              <a:extLst>
                <a:ext uri="{FF2B5EF4-FFF2-40B4-BE49-F238E27FC236}">
                  <a16:creationId xmlns:a16="http://schemas.microsoft.com/office/drawing/2014/main" id="{2DC08920-3279-5CCC-60A7-220EF2BD3E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435755">
              <a:off x="7864076" y="3135017"/>
              <a:ext cx="489585" cy="489585"/>
            </a:xfrm>
            <a:prstGeom prst="rect">
              <a:avLst/>
            </a:prstGeom>
          </p:spPr>
        </p:pic>
      </p:grpSp>
      <p:grpSp>
        <p:nvGrpSpPr>
          <p:cNvPr id="63" name="Group 62">
            <a:extLst>
              <a:ext uri="{FF2B5EF4-FFF2-40B4-BE49-F238E27FC236}">
                <a16:creationId xmlns:a16="http://schemas.microsoft.com/office/drawing/2014/main" id="{85E9C3D3-EC2A-2C20-DE2D-9D502C858B09}"/>
              </a:ext>
            </a:extLst>
          </p:cNvPr>
          <p:cNvGrpSpPr/>
          <p:nvPr/>
        </p:nvGrpSpPr>
        <p:grpSpPr>
          <a:xfrm>
            <a:off x="3898604" y="2628468"/>
            <a:ext cx="1093132" cy="1093132"/>
            <a:chOff x="3744741" y="2694175"/>
            <a:chExt cx="1093132" cy="1093132"/>
          </a:xfrm>
        </p:grpSpPr>
        <p:pic>
          <p:nvPicPr>
            <p:cNvPr id="37" name="Graphic 36" descr="Cloud with solid fill">
              <a:extLst>
                <a:ext uri="{FF2B5EF4-FFF2-40B4-BE49-F238E27FC236}">
                  <a16:creationId xmlns:a16="http://schemas.microsoft.com/office/drawing/2014/main" id="{C0E80DA8-DE91-B89F-2564-BE2B73BCFE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744741" y="2694175"/>
              <a:ext cx="1093132" cy="1093132"/>
            </a:xfrm>
            <a:prstGeom prst="rect">
              <a:avLst/>
            </a:prstGeom>
          </p:spPr>
        </p:pic>
        <p:sp>
          <p:nvSpPr>
            <p:cNvPr id="38" name="TextBox 37">
              <a:extLst>
                <a:ext uri="{FF2B5EF4-FFF2-40B4-BE49-F238E27FC236}">
                  <a16:creationId xmlns:a16="http://schemas.microsoft.com/office/drawing/2014/main" id="{621DA094-C7F2-AD12-E883-76AC69582AA6}"/>
                </a:ext>
              </a:extLst>
            </p:cNvPr>
            <p:cNvSpPr txBox="1"/>
            <p:nvPr/>
          </p:nvSpPr>
          <p:spPr>
            <a:xfrm>
              <a:off x="3964831" y="3131614"/>
              <a:ext cx="626219" cy="338554"/>
            </a:xfrm>
            <a:prstGeom prst="rect">
              <a:avLst/>
            </a:prstGeom>
            <a:noFill/>
          </p:spPr>
          <p:txBody>
            <a:bodyPr wrap="square" rtlCol="0">
              <a:spAutoFit/>
            </a:bodyPr>
            <a:lstStyle/>
            <a:p>
              <a:pPr algn="ctr"/>
              <a:r>
                <a:rPr lang="en-US" sz="1600" b="1" dirty="0">
                  <a:solidFill>
                    <a:schemeClr val="bg2"/>
                  </a:solidFill>
                  <a:latin typeface="+mj-lt"/>
                </a:rPr>
                <a:t>VPN</a:t>
              </a:r>
            </a:p>
          </p:txBody>
        </p:sp>
      </p:grpSp>
    </p:spTree>
    <p:extLst>
      <p:ext uri="{BB962C8B-B14F-4D97-AF65-F5344CB8AC3E}">
        <p14:creationId xmlns:p14="http://schemas.microsoft.com/office/powerpoint/2010/main" val="29114231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09DEB-E714-67F1-95F2-F2B5F5714FEB}"/>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81F236A5-2F37-8473-C8F8-D6FA38993F2F}"/>
              </a:ext>
            </a:extLst>
          </p:cNvPr>
          <p:cNvSpPr>
            <a:spLocks noGrp="1"/>
          </p:cNvSpPr>
          <p:nvPr>
            <p:ph type="title"/>
          </p:nvPr>
        </p:nvSpPr>
        <p:spPr>
          <a:effectLst/>
        </p:spPr>
        <p:txBody>
          <a:bodyPr/>
          <a:lstStyle/>
          <a:p>
            <a:r>
              <a:rPr lang="en-US" noProof="0" dirty="0"/>
              <a:t>Server-Client Installation</a:t>
            </a:r>
          </a:p>
        </p:txBody>
      </p:sp>
      <p:grpSp>
        <p:nvGrpSpPr>
          <p:cNvPr id="84" name="Group 83">
            <a:extLst>
              <a:ext uri="{FF2B5EF4-FFF2-40B4-BE49-F238E27FC236}">
                <a16:creationId xmlns:a16="http://schemas.microsoft.com/office/drawing/2014/main" id="{140B3692-124B-4943-586E-C8EF48836AEF}"/>
              </a:ext>
            </a:extLst>
          </p:cNvPr>
          <p:cNvGrpSpPr/>
          <p:nvPr/>
        </p:nvGrpSpPr>
        <p:grpSpPr>
          <a:xfrm>
            <a:off x="1521854" y="1622190"/>
            <a:ext cx="9148292" cy="5136828"/>
            <a:chOff x="2182724" y="1622190"/>
            <a:chExt cx="9148292" cy="5136828"/>
          </a:xfrm>
        </p:grpSpPr>
        <p:sp>
          <p:nvSpPr>
            <p:cNvPr id="35" name="Rectangle: Rounded Corners 34">
              <a:extLst>
                <a:ext uri="{FF2B5EF4-FFF2-40B4-BE49-F238E27FC236}">
                  <a16:creationId xmlns:a16="http://schemas.microsoft.com/office/drawing/2014/main" id="{AA2A3855-03EE-B031-EB94-06BEA9EBA46D}"/>
                </a:ext>
              </a:extLst>
            </p:cNvPr>
            <p:cNvSpPr/>
            <p:nvPr/>
          </p:nvSpPr>
          <p:spPr>
            <a:xfrm>
              <a:off x="2383945" y="4181475"/>
              <a:ext cx="8947071" cy="1268572"/>
            </a:xfrm>
            <a:prstGeom prst="roundRect">
              <a:avLst>
                <a:gd name="adj" fmla="val 5388"/>
              </a:avLst>
            </a:prstGeom>
            <a:noFill/>
            <a:ln w="9525"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endParaRPr>
            </a:p>
          </p:txBody>
        </p:sp>
        <p:sp>
          <p:nvSpPr>
            <p:cNvPr id="37" name="Rectangle: Rounded Corners 36">
              <a:extLst>
                <a:ext uri="{FF2B5EF4-FFF2-40B4-BE49-F238E27FC236}">
                  <a16:creationId xmlns:a16="http://schemas.microsoft.com/office/drawing/2014/main" id="{ED673FF5-5160-7C3A-3EEB-C8FD52E96DAD}"/>
                </a:ext>
              </a:extLst>
            </p:cNvPr>
            <p:cNvSpPr/>
            <p:nvPr/>
          </p:nvSpPr>
          <p:spPr>
            <a:xfrm>
              <a:off x="2383945" y="1622190"/>
              <a:ext cx="8947071" cy="2257094"/>
            </a:xfrm>
            <a:prstGeom prst="roundRect">
              <a:avLst>
                <a:gd name="adj" fmla="val 5273"/>
              </a:avLst>
            </a:prstGeom>
            <a:solidFill>
              <a:schemeClr val="bg2">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endParaRPr>
            </a:p>
          </p:txBody>
        </p:sp>
        <p:sp>
          <p:nvSpPr>
            <p:cNvPr id="38" name="Cylinder 37">
              <a:extLst>
                <a:ext uri="{FF2B5EF4-FFF2-40B4-BE49-F238E27FC236}">
                  <a16:creationId xmlns:a16="http://schemas.microsoft.com/office/drawing/2014/main" id="{331844EE-D2BD-3FF3-28FF-3949253744A8}"/>
                </a:ext>
              </a:extLst>
            </p:cNvPr>
            <p:cNvSpPr/>
            <p:nvPr/>
          </p:nvSpPr>
          <p:spPr>
            <a:xfrm>
              <a:off x="6408309" y="1827150"/>
              <a:ext cx="872774" cy="1167336"/>
            </a:xfrm>
            <a:prstGeom prst="can">
              <a:avLst/>
            </a:prstGeom>
            <a:solidFill>
              <a:schemeClr val="tx2"/>
            </a:solidFill>
            <a:ln w="9525" cap="flat" cmpd="sng" algn="ctr">
              <a:solidFill>
                <a:schemeClr val="tx1">
                  <a:lumMod val="50000"/>
                  <a:lumOff val="50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Database</a:t>
              </a:r>
            </a:p>
          </p:txBody>
        </p:sp>
        <p:sp>
          <p:nvSpPr>
            <p:cNvPr id="42" name="TextBox 41">
              <a:extLst>
                <a:ext uri="{FF2B5EF4-FFF2-40B4-BE49-F238E27FC236}">
                  <a16:creationId xmlns:a16="http://schemas.microsoft.com/office/drawing/2014/main" id="{8D64D28F-9C92-4A81-99A1-360D7271A487}"/>
                </a:ext>
              </a:extLst>
            </p:cNvPr>
            <p:cNvSpPr txBox="1"/>
            <p:nvPr/>
          </p:nvSpPr>
          <p:spPr>
            <a:xfrm>
              <a:off x="8905326" y="1658598"/>
              <a:ext cx="1758462" cy="369332"/>
            </a:xfrm>
            <a:prstGeom prst="rect">
              <a:avLst/>
            </a:prstGeom>
            <a:noFill/>
          </p:spPr>
          <p:txBody>
            <a:bodyPr wrap="square" rtlCol="0">
              <a:spAutoFit/>
            </a:bodyPr>
            <a:lstStyle/>
            <a:p>
              <a:pPr eaLnBrk="1" hangingPunct="1"/>
              <a:r>
                <a:rPr lang="en-US" noProof="0" dirty="0">
                  <a:solidFill>
                    <a:schemeClr val="tx2"/>
                  </a:solidFill>
                  <a:latin typeface="Ellab Sans" panose="02000503000000020004" pitchFamily="2" charset="0"/>
                </a:rPr>
                <a:t>WMWare</a:t>
              </a:r>
            </a:p>
          </p:txBody>
        </p:sp>
        <p:cxnSp>
          <p:nvCxnSpPr>
            <p:cNvPr id="43" name="Straight Arrow Connector 42">
              <a:extLst>
                <a:ext uri="{FF2B5EF4-FFF2-40B4-BE49-F238E27FC236}">
                  <a16:creationId xmlns:a16="http://schemas.microsoft.com/office/drawing/2014/main" id="{CBF62DAD-D6B3-5F35-639D-F98AF3DF480F}"/>
                </a:ext>
              </a:extLst>
            </p:cNvPr>
            <p:cNvCxnSpPr>
              <a:cxnSpLocks/>
            </p:cNvCxnSpPr>
            <p:nvPr/>
          </p:nvCxnSpPr>
          <p:spPr>
            <a:xfrm flipH="1">
              <a:off x="4355184" y="3046023"/>
              <a:ext cx="1801612" cy="1260000"/>
            </a:xfrm>
            <a:prstGeom prst="straightConnector1">
              <a:avLst/>
            </a:prstGeom>
            <a:noFill/>
            <a:ln w="25400" cap="flat" cmpd="sng" algn="ctr">
              <a:solidFill>
                <a:schemeClr val="accent6"/>
              </a:solidFill>
              <a:prstDash val="solid"/>
              <a:tailEnd type="triangle"/>
            </a:ln>
            <a:effectLst/>
          </p:spPr>
        </p:cxnSp>
        <p:cxnSp>
          <p:nvCxnSpPr>
            <p:cNvPr id="44" name="Straight Arrow Connector 43">
              <a:extLst>
                <a:ext uri="{FF2B5EF4-FFF2-40B4-BE49-F238E27FC236}">
                  <a16:creationId xmlns:a16="http://schemas.microsoft.com/office/drawing/2014/main" id="{D54EE352-B500-0BCF-ABC6-4CC6B24ADAFF}"/>
                </a:ext>
              </a:extLst>
            </p:cNvPr>
            <p:cNvCxnSpPr>
              <a:cxnSpLocks/>
            </p:cNvCxnSpPr>
            <p:nvPr/>
          </p:nvCxnSpPr>
          <p:spPr>
            <a:xfrm>
              <a:off x="6852996" y="3046023"/>
              <a:ext cx="0" cy="1271348"/>
            </a:xfrm>
            <a:prstGeom prst="straightConnector1">
              <a:avLst/>
            </a:prstGeom>
            <a:noFill/>
            <a:ln w="25400" cap="flat" cmpd="sng" algn="ctr">
              <a:solidFill>
                <a:schemeClr val="accent6"/>
              </a:solidFill>
              <a:prstDash val="solid"/>
              <a:tailEnd type="triangle"/>
            </a:ln>
            <a:effectLst/>
          </p:spPr>
        </p:cxnSp>
        <p:cxnSp>
          <p:nvCxnSpPr>
            <p:cNvPr id="45" name="Straight Arrow Connector 44">
              <a:extLst>
                <a:ext uri="{FF2B5EF4-FFF2-40B4-BE49-F238E27FC236}">
                  <a16:creationId xmlns:a16="http://schemas.microsoft.com/office/drawing/2014/main" id="{243AE796-5521-44A3-89E1-3E3347D6E1CE}"/>
                </a:ext>
              </a:extLst>
            </p:cNvPr>
            <p:cNvCxnSpPr>
              <a:cxnSpLocks/>
            </p:cNvCxnSpPr>
            <p:nvPr/>
          </p:nvCxnSpPr>
          <p:spPr>
            <a:xfrm>
              <a:off x="7520881" y="3046023"/>
              <a:ext cx="1800000" cy="1260000"/>
            </a:xfrm>
            <a:prstGeom prst="straightConnector1">
              <a:avLst/>
            </a:prstGeom>
            <a:noFill/>
            <a:ln w="25400" cap="flat" cmpd="sng" algn="ctr">
              <a:solidFill>
                <a:schemeClr val="accent6"/>
              </a:solidFill>
              <a:prstDash val="solid"/>
              <a:tailEnd type="triangle"/>
            </a:ln>
            <a:effectLst/>
          </p:spPr>
        </p:cxnSp>
        <p:grpSp>
          <p:nvGrpSpPr>
            <p:cNvPr id="80" name="Group 79">
              <a:extLst>
                <a:ext uri="{FF2B5EF4-FFF2-40B4-BE49-F238E27FC236}">
                  <a16:creationId xmlns:a16="http://schemas.microsoft.com/office/drawing/2014/main" id="{3F7D4AD7-B022-50B0-F94A-1A74C3615B0E}"/>
                </a:ext>
              </a:extLst>
            </p:cNvPr>
            <p:cNvGrpSpPr/>
            <p:nvPr/>
          </p:nvGrpSpPr>
          <p:grpSpPr>
            <a:xfrm>
              <a:off x="8236902" y="4351555"/>
              <a:ext cx="2295630" cy="1659682"/>
              <a:chOff x="8236902" y="4700348"/>
              <a:chExt cx="2295630" cy="1659682"/>
            </a:xfrm>
          </p:grpSpPr>
          <p:sp>
            <p:nvSpPr>
              <p:cNvPr id="40" name="Rectangle: Rounded Corners 39">
                <a:extLst>
                  <a:ext uri="{FF2B5EF4-FFF2-40B4-BE49-F238E27FC236}">
                    <a16:creationId xmlns:a16="http://schemas.microsoft.com/office/drawing/2014/main" id="{B1BE9261-56B6-4BC9-A056-BB7242FCB527}"/>
                  </a:ext>
                </a:extLst>
              </p:cNvPr>
              <p:cNvSpPr/>
              <p:nvPr/>
            </p:nvSpPr>
            <p:spPr>
              <a:xfrm>
                <a:off x="8530846" y="4700348"/>
                <a:ext cx="1657978" cy="884255"/>
              </a:xfrm>
              <a:prstGeom prst="roundRect">
                <a:avLst>
                  <a:gd name="adj" fmla="val 5895"/>
                </a:avLst>
              </a:prstGeom>
              <a:solidFill>
                <a:schemeClr val="accent1"/>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Cli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ValSuite</a:t>
                </a:r>
              </a:p>
            </p:txBody>
          </p:sp>
          <p:grpSp>
            <p:nvGrpSpPr>
              <p:cNvPr id="79" name="Group 78">
                <a:extLst>
                  <a:ext uri="{FF2B5EF4-FFF2-40B4-BE49-F238E27FC236}">
                    <a16:creationId xmlns:a16="http://schemas.microsoft.com/office/drawing/2014/main" id="{AA23D329-BADE-3F5D-EB01-2D4E458A971D}"/>
                  </a:ext>
                </a:extLst>
              </p:cNvPr>
              <p:cNvGrpSpPr/>
              <p:nvPr/>
            </p:nvGrpSpPr>
            <p:grpSpPr>
              <a:xfrm>
                <a:off x="8236902" y="5665809"/>
                <a:ext cx="2295630" cy="694221"/>
                <a:chOff x="8236902" y="5665809"/>
                <a:chExt cx="2295630" cy="694221"/>
              </a:xfrm>
            </p:grpSpPr>
            <p:sp>
              <p:nvSpPr>
                <p:cNvPr id="50" name="Rectangle: Rounded Corners 49">
                  <a:extLst>
                    <a:ext uri="{FF2B5EF4-FFF2-40B4-BE49-F238E27FC236}">
                      <a16:creationId xmlns:a16="http://schemas.microsoft.com/office/drawing/2014/main" id="{416E6536-D2C4-43FF-1BB9-9D8FB45F9EF4}"/>
                    </a:ext>
                  </a:extLst>
                </p:cNvPr>
                <p:cNvSpPr/>
                <p:nvPr/>
              </p:nvSpPr>
              <p:spPr>
                <a:xfrm>
                  <a:off x="8236902" y="5958099"/>
                  <a:ext cx="668424" cy="401931"/>
                </a:xfrm>
                <a:prstGeom prst="roundRect">
                  <a:avLst/>
                </a:prstGeom>
                <a:solidFill>
                  <a:schemeClr val="accent6"/>
                </a:solidFill>
                <a:ln w="9525" cap="flat" cmpd="sng" algn="ctr">
                  <a:solidFill>
                    <a:schemeClr val="bg1">
                      <a:lumMod val="9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E-Val Pro plus</a:t>
                  </a:r>
                </a:p>
              </p:txBody>
            </p:sp>
            <p:cxnSp>
              <p:nvCxnSpPr>
                <p:cNvPr id="51" name="Straight Arrow Connector 50">
                  <a:extLst>
                    <a:ext uri="{FF2B5EF4-FFF2-40B4-BE49-F238E27FC236}">
                      <a16:creationId xmlns:a16="http://schemas.microsoft.com/office/drawing/2014/main" id="{F1F18C12-E086-F841-E30F-20AC08C63E85}"/>
                    </a:ext>
                  </a:extLst>
                </p:cNvPr>
                <p:cNvCxnSpPr>
                  <a:cxnSpLocks/>
                </p:cNvCxnSpPr>
                <p:nvPr/>
              </p:nvCxnSpPr>
              <p:spPr>
                <a:xfrm flipV="1">
                  <a:off x="8576327" y="5665809"/>
                  <a:ext cx="216000" cy="216000"/>
                </a:xfrm>
                <a:prstGeom prst="straightConnector1">
                  <a:avLst/>
                </a:prstGeom>
                <a:noFill/>
                <a:ln w="25400" cap="flat" cmpd="sng" algn="ctr">
                  <a:solidFill>
                    <a:schemeClr val="accent6"/>
                  </a:solidFill>
                  <a:prstDash val="solid"/>
                  <a:tailEnd type="triangle"/>
                </a:ln>
                <a:effectLst/>
              </p:spPr>
            </p:cxnSp>
            <p:sp>
              <p:nvSpPr>
                <p:cNvPr id="52" name="Rectangle: Rounded Corners 51">
                  <a:extLst>
                    <a:ext uri="{FF2B5EF4-FFF2-40B4-BE49-F238E27FC236}">
                      <a16:creationId xmlns:a16="http://schemas.microsoft.com/office/drawing/2014/main" id="{B66FA43C-ED20-7F75-D556-8A971BE95450}"/>
                    </a:ext>
                  </a:extLst>
                </p:cNvPr>
                <p:cNvSpPr/>
                <p:nvPr/>
              </p:nvSpPr>
              <p:spPr>
                <a:xfrm>
                  <a:off x="9050505" y="5958099"/>
                  <a:ext cx="668424" cy="401931"/>
                </a:xfrm>
                <a:prstGeom prst="roundRect">
                  <a:avLst/>
                </a:prstGeom>
                <a:solidFill>
                  <a:schemeClr val="accent6"/>
                </a:solidFill>
                <a:ln w="9525" cap="flat" cmpd="sng" algn="ctr">
                  <a:solidFill>
                    <a:schemeClr val="bg1">
                      <a:lumMod val="9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ETS</a:t>
                  </a:r>
                </a:p>
              </p:txBody>
            </p:sp>
            <p:sp>
              <p:nvSpPr>
                <p:cNvPr id="53" name="Rectangle: Rounded Corners 52">
                  <a:extLst>
                    <a:ext uri="{FF2B5EF4-FFF2-40B4-BE49-F238E27FC236}">
                      <a16:creationId xmlns:a16="http://schemas.microsoft.com/office/drawing/2014/main" id="{FFF33B18-C52A-4C1F-B259-F74F67112E02}"/>
                    </a:ext>
                  </a:extLst>
                </p:cNvPr>
                <p:cNvSpPr/>
                <p:nvPr/>
              </p:nvSpPr>
              <p:spPr>
                <a:xfrm>
                  <a:off x="9864108" y="5958099"/>
                  <a:ext cx="668424" cy="401931"/>
                </a:xfrm>
                <a:prstGeom prst="roundRect">
                  <a:avLst/>
                </a:prstGeom>
                <a:solidFill>
                  <a:schemeClr val="accent6"/>
                </a:solidFill>
                <a:ln w="9525" cap="flat" cmpd="sng" algn="ctr">
                  <a:solidFill>
                    <a:schemeClr val="bg1">
                      <a:lumMod val="9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Bath</a:t>
                  </a:r>
                </a:p>
              </p:txBody>
            </p:sp>
            <p:cxnSp>
              <p:nvCxnSpPr>
                <p:cNvPr id="54" name="Straight Arrow Connector 53">
                  <a:extLst>
                    <a:ext uri="{FF2B5EF4-FFF2-40B4-BE49-F238E27FC236}">
                      <a16:creationId xmlns:a16="http://schemas.microsoft.com/office/drawing/2014/main" id="{B649005B-1DFD-4F7B-1B15-F182D14729E6}"/>
                    </a:ext>
                  </a:extLst>
                </p:cNvPr>
                <p:cNvCxnSpPr>
                  <a:cxnSpLocks/>
                </p:cNvCxnSpPr>
                <p:nvPr/>
              </p:nvCxnSpPr>
              <p:spPr>
                <a:xfrm flipV="1">
                  <a:off x="9384717" y="5665809"/>
                  <a:ext cx="0" cy="216000"/>
                </a:xfrm>
                <a:prstGeom prst="straightConnector1">
                  <a:avLst/>
                </a:prstGeom>
                <a:noFill/>
                <a:ln w="25400" cap="flat" cmpd="sng" algn="ctr">
                  <a:solidFill>
                    <a:schemeClr val="accent5"/>
                  </a:solidFill>
                  <a:prstDash val="solid"/>
                  <a:tailEnd type="triangle"/>
                </a:ln>
                <a:effectLst/>
              </p:spPr>
            </p:cxnSp>
            <p:cxnSp>
              <p:nvCxnSpPr>
                <p:cNvPr id="55" name="Straight Arrow Connector 54">
                  <a:extLst>
                    <a:ext uri="{FF2B5EF4-FFF2-40B4-BE49-F238E27FC236}">
                      <a16:creationId xmlns:a16="http://schemas.microsoft.com/office/drawing/2014/main" id="{22577F55-FDAA-3059-333C-B9A8290CD976}"/>
                    </a:ext>
                  </a:extLst>
                </p:cNvPr>
                <p:cNvCxnSpPr>
                  <a:cxnSpLocks/>
                </p:cNvCxnSpPr>
                <p:nvPr/>
              </p:nvCxnSpPr>
              <p:spPr>
                <a:xfrm flipH="1" flipV="1">
                  <a:off x="9982320" y="5665809"/>
                  <a:ext cx="216000" cy="216000"/>
                </a:xfrm>
                <a:prstGeom prst="straightConnector1">
                  <a:avLst/>
                </a:prstGeom>
                <a:noFill/>
                <a:ln w="25400" cap="flat" cmpd="sng" algn="ctr">
                  <a:solidFill>
                    <a:srgbClr val="FFC000"/>
                  </a:solidFill>
                  <a:prstDash val="solid"/>
                  <a:tailEnd type="triangle"/>
                </a:ln>
                <a:effectLst/>
              </p:spPr>
            </p:cxnSp>
          </p:grpSp>
        </p:grpSp>
        <p:grpSp>
          <p:nvGrpSpPr>
            <p:cNvPr id="81" name="Group 80">
              <a:extLst>
                <a:ext uri="{FF2B5EF4-FFF2-40B4-BE49-F238E27FC236}">
                  <a16:creationId xmlns:a16="http://schemas.microsoft.com/office/drawing/2014/main" id="{53A01EBC-4D37-05BE-871E-FFEDFE023CC9}"/>
                </a:ext>
              </a:extLst>
            </p:cNvPr>
            <p:cNvGrpSpPr/>
            <p:nvPr/>
          </p:nvGrpSpPr>
          <p:grpSpPr>
            <a:xfrm>
              <a:off x="5850164" y="4351555"/>
              <a:ext cx="2005664" cy="1659682"/>
              <a:chOff x="5850164" y="4700348"/>
              <a:chExt cx="2005664" cy="1659682"/>
            </a:xfrm>
          </p:grpSpPr>
          <p:sp>
            <p:nvSpPr>
              <p:cNvPr id="41" name="Rectangle: Rounded Corners 40">
                <a:extLst>
                  <a:ext uri="{FF2B5EF4-FFF2-40B4-BE49-F238E27FC236}">
                    <a16:creationId xmlns:a16="http://schemas.microsoft.com/office/drawing/2014/main" id="{BC3C759E-CBA7-ED83-D276-FD76723EC2EE}"/>
                  </a:ext>
                </a:extLst>
              </p:cNvPr>
              <p:cNvSpPr/>
              <p:nvPr/>
            </p:nvSpPr>
            <p:spPr>
              <a:xfrm>
                <a:off x="6024007" y="4700348"/>
                <a:ext cx="1657978" cy="884255"/>
              </a:xfrm>
              <a:prstGeom prst="roundRect">
                <a:avLst>
                  <a:gd name="adj" fmla="val 12358"/>
                </a:avLst>
              </a:prstGeom>
              <a:solidFill>
                <a:schemeClr val="accent1"/>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Cli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ValSuite</a:t>
                </a:r>
              </a:p>
            </p:txBody>
          </p:sp>
          <p:grpSp>
            <p:nvGrpSpPr>
              <p:cNvPr id="78" name="Group 77">
                <a:extLst>
                  <a:ext uri="{FF2B5EF4-FFF2-40B4-BE49-F238E27FC236}">
                    <a16:creationId xmlns:a16="http://schemas.microsoft.com/office/drawing/2014/main" id="{11B352DB-BF0D-CAC3-D375-A0EB2A9A674E}"/>
                  </a:ext>
                </a:extLst>
              </p:cNvPr>
              <p:cNvGrpSpPr/>
              <p:nvPr/>
            </p:nvGrpSpPr>
            <p:grpSpPr>
              <a:xfrm>
                <a:off x="5850164" y="5665809"/>
                <a:ext cx="2005664" cy="694221"/>
                <a:chOff x="5765321" y="5665809"/>
                <a:chExt cx="2005664" cy="694221"/>
              </a:xfrm>
            </p:grpSpPr>
            <p:sp>
              <p:nvSpPr>
                <p:cNvPr id="48" name="Rectangle: Rounded Corners 47">
                  <a:extLst>
                    <a:ext uri="{FF2B5EF4-FFF2-40B4-BE49-F238E27FC236}">
                      <a16:creationId xmlns:a16="http://schemas.microsoft.com/office/drawing/2014/main" id="{9534722E-7E00-89DC-2981-07221A055E23}"/>
                    </a:ext>
                  </a:extLst>
                </p:cNvPr>
                <p:cNvSpPr/>
                <p:nvPr/>
              </p:nvSpPr>
              <p:spPr>
                <a:xfrm>
                  <a:off x="5765321" y="5958099"/>
                  <a:ext cx="668424" cy="401931"/>
                </a:xfrm>
                <a:prstGeom prst="roundRect">
                  <a:avLst/>
                </a:prstGeom>
                <a:solidFill>
                  <a:schemeClr val="accent6"/>
                </a:solidFill>
                <a:ln w="9525" cap="flat" cmpd="sng" algn="ctr">
                  <a:solidFill>
                    <a:schemeClr val="bg1">
                      <a:lumMod val="9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Reader Station</a:t>
                  </a:r>
                </a:p>
              </p:txBody>
            </p:sp>
            <p:cxnSp>
              <p:nvCxnSpPr>
                <p:cNvPr id="49" name="Straight Arrow Connector 48">
                  <a:extLst>
                    <a:ext uri="{FF2B5EF4-FFF2-40B4-BE49-F238E27FC236}">
                      <a16:creationId xmlns:a16="http://schemas.microsoft.com/office/drawing/2014/main" id="{77C03EED-E2C6-6743-0AED-8DDB459C729C}"/>
                    </a:ext>
                  </a:extLst>
                </p:cNvPr>
                <p:cNvCxnSpPr>
                  <a:cxnSpLocks/>
                </p:cNvCxnSpPr>
                <p:nvPr/>
              </p:nvCxnSpPr>
              <p:spPr>
                <a:xfrm flipV="1">
                  <a:off x="6107466" y="5665809"/>
                  <a:ext cx="216000" cy="216000"/>
                </a:xfrm>
                <a:prstGeom prst="straightConnector1">
                  <a:avLst/>
                </a:prstGeom>
                <a:noFill/>
                <a:ln w="25400" cap="flat" cmpd="sng" algn="ctr">
                  <a:solidFill>
                    <a:schemeClr val="accent5"/>
                  </a:solidFill>
                  <a:prstDash val="solid"/>
                  <a:tailEnd type="triangle"/>
                </a:ln>
                <a:effectLst/>
              </p:spPr>
            </p:cxnSp>
            <p:sp>
              <p:nvSpPr>
                <p:cNvPr id="56" name="Rectangle: Rounded Corners 55">
                  <a:extLst>
                    <a:ext uri="{FF2B5EF4-FFF2-40B4-BE49-F238E27FC236}">
                      <a16:creationId xmlns:a16="http://schemas.microsoft.com/office/drawing/2014/main" id="{D8D92086-DE38-DE54-9834-1A3E9CB552A2}"/>
                    </a:ext>
                  </a:extLst>
                </p:cNvPr>
                <p:cNvSpPr/>
                <p:nvPr/>
              </p:nvSpPr>
              <p:spPr>
                <a:xfrm>
                  <a:off x="7102561" y="5958099"/>
                  <a:ext cx="668424" cy="401931"/>
                </a:xfrm>
                <a:prstGeom prst="roundRect">
                  <a:avLst/>
                </a:prstGeom>
                <a:solidFill>
                  <a:schemeClr val="accent6"/>
                </a:solidFill>
                <a:ln w="9525" cap="flat" cmpd="sng" algn="ctr">
                  <a:solidFill>
                    <a:schemeClr val="bg1">
                      <a:lumMod val="9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E-Val Pro plus </a:t>
                  </a:r>
                </a:p>
              </p:txBody>
            </p:sp>
            <p:cxnSp>
              <p:nvCxnSpPr>
                <p:cNvPr id="57" name="Straight Arrow Connector 56">
                  <a:extLst>
                    <a:ext uri="{FF2B5EF4-FFF2-40B4-BE49-F238E27FC236}">
                      <a16:creationId xmlns:a16="http://schemas.microsoft.com/office/drawing/2014/main" id="{422BB769-EF6B-1357-9D7C-B83E5DC0A121}"/>
                    </a:ext>
                  </a:extLst>
                </p:cNvPr>
                <p:cNvCxnSpPr>
                  <a:cxnSpLocks/>
                </p:cNvCxnSpPr>
                <p:nvPr/>
              </p:nvCxnSpPr>
              <p:spPr>
                <a:xfrm flipH="1" flipV="1">
                  <a:off x="7186108" y="5665809"/>
                  <a:ext cx="216000" cy="216000"/>
                </a:xfrm>
                <a:prstGeom prst="straightConnector1">
                  <a:avLst/>
                </a:prstGeom>
                <a:noFill/>
                <a:ln w="25400" cap="flat" cmpd="sng" algn="ctr">
                  <a:solidFill>
                    <a:schemeClr val="accent5"/>
                  </a:solidFill>
                  <a:prstDash val="solid"/>
                  <a:tailEnd type="triangle"/>
                </a:ln>
                <a:effectLst/>
              </p:spPr>
            </p:cxnSp>
          </p:grpSp>
        </p:grpSp>
        <p:grpSp>
          <p:nvGrpSpPr>
            <p:cNvPr id="74" name="Group 73">
              <a:extLst>
                <a:ext uri="{FF2B5EF4-FFF2-40B4-BE49-F238E27FC236}">
                  <a16:creationId xmlns:a16="http://schemas.microsoft.com/office/drawing/2014/main" id="{44B859CE-D47C-4BDF-16E4-DDED8028A4BB}"/>
                </a:ext>
              </a:extLst>
            </p:cNvPr>
            <p:cNvGrpSpPr/>
            <p:nvPr/>
          </p:nvGrpSpPr>
          <p:grpSpPr>
            <a:xfrm>
              <a:off x="4978129" y="6440498"/>
              <a:ext cx="3165440" cy="318520"/>
              <a:chOff x="4978129" y="6402790"/>
              <a:chExt cx="3165440" cy="318520"/>
            </a:xfrm>
          </p:grpSpPr>
          <p:sp>
            <p:nvSpPr>
              <p:cNvPr id="65" name="Rectangle 64">
                <a:extLst>
                  <a:ext uri="{FF2B5EF4-FFF2-40B4-BE49-F238E27FC236}">
                    <a16:creationId xmlns:a16="http://schemas.microsoft.com/office/drawing/2014/main" id="{53614AFD-06F8-49FF-BAC9-DDE63115034A}"/>
                  </a:ext>
                </a:extLst>
              </p:cNvPr>
              <p:cNvSpPr/>
              <p:nvPr/>
            </p:nvSpPr>
            <p:spPr>
              <a:xfrm>
                <a:off x="5000713" y="6402790"/>
                <a:ext cx="3120273" cy="318520"/>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66" name="Group 65">
                <a:extLst>
                  <a:ext uri="{FF2B5EF4-FFF2-40B4-BE49-F238E27FC236}">
                    <a16:creationId xmlns:a16="http://schemas.microsoft.com/office/drawing/2014/main" id="{5682EAC2-A055-CBEE-E16D-8E2B71EBF4B1}"/>
                  </a:ext>
                </a:extLst>
              </p:cNvPr>
              <p:cNvGrpSpPr/>
              <p:nvPr/>
            </p:nvGrpSpPr>
            <p:grpSpPr>
              <a:xfrm>
                <a:off x="4978129" y="6454328"/>
                <a:ext cx="3165440" cy="215444"/>
                <a:chOff x="5016614" y="6459352"/>
                <a:chExt cx="3165440" cy="215444"/>
              </a:xfrm>
            </p:grpSpPr>
            <p:cxnSp>
              <p:nvCxnSpPr>
                <p:cNvPr id="58" name="Straight Connector 57">
                  <a:extLst>
                    <a:ext uri="{FF2B5EF4-FFF2-40B4-BE49-F238E27FC236}">
                      <a16:creationId xmlns:a16="http://schemas.microsoft.com/office/drawing/2014/main" id="{F1CB98FB-A2F1-D7BC-C58D-A8A1511FCB75}"/>
                    </a:ext>
                  </a:extLst>
                </p:cNvPr>
                <p:cNvCxnSpPr>
                  <a:cxnSpLocks/>
                </p:cNvCxnSpPr>
                <p:nvPr/>
              </p:nvCxnSpPr>
              <p:spPr>
                <a:xfrm>
                  <a:off x="5016614" y="6567074"/>
                  <a:ext cx="411982" cy="0"/>
                </a:xfrm>
                <a:prstGeom prst="line">
                  <a:avLst/>
                </a:prstGeom>
                <a:noFill/>
                <a:ln w="25400" cap="flat" cmpd="sng" algn="ctr">
                  <a:solidFill>
                    <a:schemeClr val="accent5"/>
                  </a:solidFill>
                  <a:prstDash val="solid"/>
                </a:ln>
                <a:effectLst/>
              </p:spPr>
            </p:cxnSp>
            <p:sp>
              <p:nvSpPr>
                <p:cNvPr id="59" name="TextBox 58">
                  <a:extLst>
                    <a:ext uri="{FF2B5EF4-FFF2-40B4-BE49-F238E27FC236}">
                      <a16:creationId xmlns:a16="http://schemas.microsoft.com/office/drawing/2014/main" id="{120DE1F8-99A8-A3DC-9109-26E1B5326402}"/>
                    </a:ext>
                  </a:extLst>
                </p:cNvPr>
                <p:cNvSpPr txBox="1"/>
                <p:nvPr/>
              </p:nvSpPr>
              <p:spPr>
                <a:xfrm>
                  <a:off x="5380371" y="6459352"/>
                  <a:ext cx="723540" cy="215444"/>
                </a:xfrm>
                <a:prstGeom prst="rect">
                  <a:avLst/>
                </a:prstGeom>
                <a:noFill/>
              </p:spPr>
              <p:txBody>
                <a:bodyPr wrap="square" rtlCol="0">
                  <a:spAutoFit/>
                </a:bodyPr>
                <a:lstStyle/>
                <a:p>
                  <a:pPr eaLnBrk="1" hangingPunct="1"/>
                  <a:r>
                    <a:rPr lang="en-US" sz="800" noProof="0" dirty="0">
                      <a:solidFill>
                        <a:srgbClr val="000000"/>
                      </a:solidFill>
                      <a:latin typeface="Ellab Sans" panose="02000503000000020004" pitchFamily="2" charset="0"/>
                    </a:rPr>
                    <a:t>USB</a:t>
                  </a:r>
                </a:p>
              </p:txBody>
            </p:sp>
            <p:cxnSp>
              <p:nvCxnSpPr>
                <p:cNvPr id="60" name="Straight Connector 59">
                  <a:extLst>
                    <a:ext uri="{FF2B5EF4-FFF2-40B4-BE49-F238E27FC236}">
                      <a16:creationId xmlns:a16="http://schemas.microsoft.com/office/drawing/2014/main" id="{BE456301-FB9D-DEA4-183D-658BA396A9FB}"/>
                    </a:ext>
                  </a:extLst>
                </p:cNvPr>
                <p:cNvCxnSpPr>
                  <a:cxnSpLocks/>
                </p:cNvCxnSpPr>
                <p:nvPr/>
              </p:nvCxnSpPr>
              <p:spPr>
                <a:xfrm>
                  <a:off x="6055686" y="6567074"/>
                  <a:ext cx="411982" cy="0"/>
                </a:xfrm>
                <a:prstGeom prst="line">
                  <a:avLst/>
                </a:prstGeom>
                <a:noFill/>
                <a:ln w="25400" cap="flat" cmpd="sng" algn="ctr">
                  <a:solidFill>
                    <a:schemeClr val="accent6"/>
                  </a:solidFill>
                  <a:prstDash val="solid"/>
                </a:ln>
                <a:effectLst/>
              </p:spPr>
            </p:cxnSp>
            <p:sp>
              <p:nvSpPr>
                <p:cNvPr id="61" name="TextBox 60">
                  <a:extLst>
                    <a:ext uri="{FF2B5EF4-FFF2-40B4-BE49-F238E27FC236}">
                      <a16:creationId xmlns:a16="http://schemas.microsoft.com/office/drawing/2014/main" id="{521E05A8-C011-D7C6-0D4D-BFAC820DE194}"/>
                    </a:ext>
                  </a:extLst>
                </p:cNvPr>
                <p:cNvSpPr txBox="1"/>
                <p:nvPr/>
              </p:nvSpPr>
              <p:spPr>
                <a:xfrm>
                  <a:off x="6419443" y="6459352"/>
                  <a:ext cx="723540" cy="215444"/>
                </a:xfrm>
                <a:prstGeom prst="rect">
                  <a:avLst/>
                </a:prstGeom>
                <a:noFill/>
              </p:spPr>
              <p:txBody>
                <a:bodyPr wrap="square" rtlCol="0">
                  <a:spAutoFit/>
                </a:bodyPr>
                <a:lstStyle/>
                <a:p>
                  <a:pPr eaLnBrk="1" hangingPunct="1"/>
                  <a:r>
                    <a:rPr lang="en-US" sz="800" noProof="0" dirty="0">
                      <a:solidFill>
                        <a:srgbClr val="000000"/>
                      </a:solidFill>
                      <a:latin typeface="Ellab Sans" panose="02000503000000020004" pitchFamily="2" charset="0"/>
                    </a:rPr>
                    <a:t>Ethernet</a:t>
                  </a:r>
                </a:p>
              </p:txBody>
            </p:sp>
            <p:cxnSp>
              <p:nvCxnSpPr>
                <p:cNvPr id="62" name="Straight Connector 61">
                  <a:extLst>
                    <a:ext uri="{FF2B5EF4-FFF2-40B4-BE49-F238E27FC236}">
                      <a16:creationId xmlns:a16="http://schemas.microsoft.com/office/drawing/2014/main" id="{ACD27878-4947-EA14-C99D-CF6C3B01AFEB}"/>
                    </a:ext>
                  </a:extLst>
                </p:cNvPr>
                <p:cNvCxnSpPr>
                  <a:cxnSpLocks/>
                </p:cNvCxnSpPr>
                <p:nvPr/>
              </p:nvCxnSpPr>
              <p:spPr>
                <a:xfrm>
                  <a:off x="7094758" y="6567074"/>
                  <a:ext cx="411982" cy="0"/>
                </a:xfrm>
                <a:prstGeom prst="line">
                  <a:avLst/>
                </a:prstGeom>
                <a:noFill/>
                <a:ln w="25400" cap="flat" cmpd="sng" algn="ctr">
                  <a:solidFill>
                    <a:srgbClr val="FFC000"/>
                  </a:solidFill>
                  <a:prstDash val="solid"/>
                  <a:tailEnd type="none"/>
                </a:ln>
                <a:effectLst/>
              </p:spPr>
            </p:cxnSp>
            <p:sp>
              <p:nvSpPr>
                <p:cNvPr id="63" name="TextBox 62">
                  <a:extLst>
                    <a:ext uri="{FF2B5EF4-FFF2-40B4-BE49-F238E27FC236}">
                      <a16:creationId xmlns:a16="http://schemas.microsoft.com/office/drawing/2014/main" id="{AF441A65-2B6A-1B24-6DFE-747A025E4B4B}"/>
                    </a:ext>
                  </a:extLst>
                </p:cNvPr>
                <p:cNvSpPr txBox="1"/>
                <p:nvPr/>
              </p:nvSpPr>
              <p:spPr>
                <a:xfrm>
                  <a:off x="7458514" y="6459352"/>
                  <a:ext cx="723540" cy="215444"/>
                </a:xfrm>
                <a:prstGeom prst="rect">
                  <a:avLst/>
                </a:prstGeom>
                <a:noFill/>
              </p:spPr>
              <p:txBody>
                <a:bodyPr wrap="square" rtlCol="0">
                  <a:spAutoFit/>
                </a:bodyPr>
                <a:lstStyle/>
                <a:p>
                  <a:pPr eaLnBrk="1" hangingPunct="1"/>
                  <a:r>
                    <a:rPr lang="en-US" sz="800" noProof="0" dirty="0">
                      <a:solidFill>
                        <a:srgbClr val="000000"/>
                      </a:solidFill>
                      <a:latin typeface="Ellab Sans" panose="02000503000000020004" pitchFamily="2" charset="0"/>
                    </a:rPr>
                    <a:t>RS232</a:t>
                  </a:r>
                </a:p>
              </p:txBody>
            </p:sp>
          </p:grpSp>
        </p:grpSp>
        <p:grpSp>
          <p:nvGrpSpPr>
            <p:cNvPr id="82" name="Group 81">
              <a:extLst>
                <a:ext uri="{FF2B5EF4-FFF2-40B4-BE49-F238E27FC236}">
                  <a16:creationId xmlns:a16="http://schemas.microsoft.com/office/drawing/2014/main" id="{3B89ECC9-DFF7-D5F4-5043-6E652AE714B6}"/>
                </a:ext>
              </a:extLst>
            </p:cNvPr>
            <p:cNvGrpSpPr/>
            <p:nvPr/>
          </p:nvGrpSpPr>
          <p:grpSpPr>
            <a:xfrm>
              <a:off x="3526818" y="4351555"/>
              <a:ext cx="1657978" cy="1630794"/>
              <a:chOff x="3526818" y="4700348"/>
              <a:chExt cx="1657978" cy="1630794"/>
            </a:xfrm>
          </p:grpSpPr>
          <p:sp>
            <p:nvSpPr>
              <p:cNvPr id="39" name="Rectangle: Rounded Corners 38">
                <a:extLst>
                  <a:ext uri="{FF2B5EF4-FFF2-40B4-BE49-F238E27FC236}">
                    <a16:creationId xmlns:a16="http://schemas.microsoft.com/office/drawing/2014/main" id="{57F5E0AC-6F4D-A04E-8F65-0494FF952431}"/>
                  </a:ext>
                </a:extLst>
              </p:cNvPr>
              <p:cNvSpPr/>
              <p:nvPr/>
            </p:nvSpPr>
            <p:spPr>
              <a:xfrm>
                <a:off x="3526818" y="4700348"/>
                <a:ext cx="1657978" cy="884255"/>
              </a:xfrm>
              <a:prstGeom prst="roundRect">
                <a:avLst>
                  <a:gd name="adj" fmla="val 10204"/>
                </a:avLst>
              </a:prstGeom>
              <a:solidFill>
                <a:schemeClr val="accent1"/>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Cli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ValSuite</a:t>
                </a:r>
              </a:p>
            </p:txBody>
          </p:sp>
          <p:sp>
            <p:nvSpPr>
              <p:cNvPr id="46" name="Rectangle: Rounded Corners 45">
                <a:extLst>
                  <a:ext uri="{FF2B5EF4-FFF2-40B4-BE49-F238E27FC236}">
                    <a16:creationId xmlns:a16="http://schemas.microsoft.com/office/drawing/2014/main" id="{DBACA9F1-EED3-71C2-6BF2-146DAE29E2E7}"/>
                  </a:ext>
                </a:extLst>
              </p:cNvPr>
              <p:cNvSpPr/>
              <p:nvPr/>
            </p:nvSpPr>
            <p:spPr>
              <a:xfrm>
                <a:off x="4020972" y="5929211"/>
                <a:ext cx="668424" cy="401931"/>
              </a:xfrm>
              <a:prstGeom prst="roundRect">
                <a:avLst/>
              </a:prstGeom>
              <a:solidFill>
                <a:schemeClr val="accent6"/>
              </a:solidFill>
              <a:ln w="9525" cap="flat" cmpd="sng" algn="ctr">
                <a:solidFill>
                  <a:schemeClr val="bg1">
                    <a:lumMod val="9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Ellab Sans" panose="02000503000000020004" pitchFamily="2" charset="0"/>
                    <a:ea typeface="+mn-ea"/>
                    <a:cs typeface="+mn-cs"/>
                  </a:rPr>
                  <a:t>Reader Station</a:t>
                </a:r>
              </a:p>
            </p:txBody>
          </p:sp>
          <p:cxnSp>
            <p:nvCxnSpPr>
              <p:cNvPr id="47" name="Straight Arrow Connector 46">
                <a:extLst>
                  <a:ext uri="{FF2B5EF4-FFF2-40B4-BE49-F238E27FC236}">
                    <a16:creationId xmlns:a16="http://schemas.microsoft.com/office/drawing/2014/main" id="{FF5BB1B7-E29A-32BD-6B5B-7196DBD4B47E}"/>
                  </a:ext>
                </a:extLst>
              </p:cNvPr>
              <p:cNvCxnSpPr>
                <a:cxnSpLocks/>
              </p:cNvCxnSpPr>
              <p:nvPr/>
            </p:nvCxnSpPr>
            <p:spPr>
              <a:xfrm flipV="1">
                <a:off x="4289183" y="5665809"/>
                <a:ext cx="0" cy="216000"/>
              </a:xfrm>
              <a:prstGeom prst="straightConnector1">
                <a:avLst/>
              </a:prstGeom>
              <a:noFill/>
              <a:ln w="25400" cap="flat" cmpd="sng" algn="ctr">
                <a:solidFill>
                  <a:schemeClr val="accent5"/>
                </a:solidFill>
                <a:prstDash val="solid"/>
                <a:tailEnd type="triangle"/>
              </a:ln>
              <a:effectLst/>
            </p:spPr>
          </p:cxnSp>
          <p:cxnSp>
            <p:nvCxnSpPr>
              <p:cNvPr id="64" name="Straight Arrow Connector 63">
                <a:extLst>
                  <a:ext uri="{FF2B5EF4-FFF2-40B4-BE49-F238E27FC236}">
                    <a16:creationId xmlns:a16="http://schemas.microsoft.com/office/drawing/2014/main" id="{4414EA7F-33CD-C4F3-23A3-49D495F11D08}"/>
                  </a:ext>
                </a:extLst>
              </p:cNvPr>
              <p:cNvCxnSpPr>
                <a:cxnSpLocks/>
              </p:cNvCxnSpPr>
              <p:nvPr/>
            </p:nvCxnSpPr>
            <p:spPr>
              <a:xfrm flipH="1" flipV="1">
                <a:off x="4394051" y="5665809"/>
                <a:ext cx="0" cy="216000"/>
              </a:xfrm>
              <a:prstGeom prst="straightConnector1">
                <a:avLst/>
              </a:prstGeom>
              <a:noFill/>
              <a:ln w="25400" cap="flat" cmpd="sng" algn="ctr">
                <a:solidFill>
                  <a:schemeClr val="accent6"/>
                </a:solidFill>
                <a:prstDash val="solid"/>
                <a:tailEnd type="triangle"/>
              </a:ln>
              <a:effectLst/>
            </p:spPr>
          </p:cxnSp>
        </p:grpSp>
        <p:sp>
          <p:nvSpPr>
            <p:cNvPr id="83" name="Arrow: Right 82">
              <a:extLst>
                <a:ext uri="{FF2B5EF4-FFF2-40B4-BE49-F238E27FC236}">
                  <a16:creationId xmlns:a16="http://schemas.microsoft.com/office/drawing/2014/main" id="{B4706D77-B8FD-4125-96C9-7BAB4FC231BC}"/>
                </a:ext>
              </a:extLst>
            </p:cNvPr>
            <p:cNvSpPr/>
            <p:nvPr/>
          </p:nvSpPr>
          <p:spPr>
            <a:xfrm>
              <a:off x="2182724" y="4460391"/>
              <a:ext cx="1178350" cy="721989"/>
            </a:xfrm>
            <a:prstGeom prst="rightArrow">
              <a:avLst>
                <a:gd name="adj1" fmla="val 74999"/>
                <a:gd name="adj2" fmla="val 50000"/>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eaLnBrk="1" hangingPunct="1"/>
              <a:r>
                <a:rPr lang="en-US" sz="1100" noProof="0" dirty="0">
                  <a:solidFill>
                    <a:srgbClr val="000000"/>
                  </a:solidFill>
                  <a:latin typeface="Ellab Sans" panose="02000503000000020004" pitchFamily="2" charset="0"/>
                </a:rPr>
                <a:t>AD Groups Security</a:t>
              </a:r>
            </a:p>
          </p:txBody>
        </p:sp>
      </p:grpSp>
    </p:spTree>
    <p:extLst>
      <p:ext uri="{BB962C8B-B14F-4D97-AF65-F5344CB8AC3E}">
        <p14:creationId xmlns:p14="http://schemas.microsoft.com/office/powerpoint/2010/main" val="25124117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E9CDF97-671C-E8B2-47F2-871690727E28}"/>
              </a:ext>
            </a:extLst>
          </p:cNvPr>
          <p:cNvSpPr>
            <a:spLocks noGrp="1"/>
          </p:cNvSpPr>
          <p:nvPr>
            <p:ph type="body" sz="half" idx="10"/>
          </p:nvPr>
        </p:nvSpPr>
        <p:spPr/>
        <p:txBody>
          <a:bodyPr/>
          <a:lstStyle/>
          <a:p>
            <a:r>
              <a:rPr lang="en-US" noProof="0" dirty="0"/>
              <a:t>Why cannot laptops do the same thing as stationary computers?</a:t>
            </a:r>
          </a:p>
          <a:p>
            <a:r>
              <a:rPr lang="en-US" noProof="0" dirty="0"/>
              <a:t>I understand correct that with client server installation: </a:t>
            </a:r>
            <a:r>
              <a:rPr lang="en-US" noProof="0" dirty="0" err="1"/>
              <a:t>Valsuite</a:t>
            </a:r>
            <a:r>
              <a:rPr lang="en-US" noProof="0" dirty="0"/>
              <a:t> is only installed once, and then projected to the other computers without being installed?</a:t>
            </a:r>
          </a:p>
          <a:p>
            <a:endParaRPr lang="en-US" noProof="0" dirty="0"/>
          </a:p>
          <a:p>
            <a:r>
              <a:rPr lang="en-US" noProof="0" dirty="0"/>
              <a:t>Where is Scada in all this? </a:t>
            </a:r>
          </a:p>
          <a:p>
            <a:endParaRPr lang="en-US" noProof="0" dirty="0"/>
          </a:p>
          <a:p>
            <a:r>
              <a:rPr lang="en-US" noProof="0" dirty="0"/>
              <a:t>If we have sky routers, are they also connected to the customers LAN? </a:t>
            </a:r>
          </a:p>
          <a:p>
            <a:r>
              <a:rPr lang="en-US" noProof="0" dirty="0"/>
              <a:t>So if the customer want to have a wireless setup with sky, but operate it (or at least monitor it) from their office, is that possible with client server?</a:t>
            </a:r>
          </a:p>
          <a:p>
            <a:endParaRPr lang="en-US" noProof="0" dirty="0"/>
          </a:p>
          <a:p>
            <a:r>
              <a:rPr lang="en-US" noProof="0" dirty="0"/>
              <a:t>What’s the typical benefit/situation for customers to pick the VPN setup with different sites? What is it that they want to see/control/do?</a:t>
            </a:r>
          </a:p>
          <a:p>
            <a:endParaRPr lang="en-US" dirty="0"/>
          </a:p>
          <a:p>
            <a:r>
              <a:rPr lang="en-US" dirty="0"/>
              <a:t>Can we make dynamic IP address?</a:t>
            </a:r>
          </a:p>
          <a:p>
            <a:endParaRPr lang="en-US" dirty="0"/>
          </a:p>
          <a:p>
            <a:r>
              <a:rPr lang="en-US" dirty="0"/>
              <a:t>Can we operate the EVPP and reader station only via LAN and no computer in the same room</a:t>
            </a:r>
          </a:p>
          <a:p>
            <a:r>
              <a:rPr lang="en-US" noProof="0" dirty="0"/>
              <a:t> </a:t>
            </a:r>
          </a:p>
          <a:p>
            <a:endParaRPr lang="en-US" noProof="0" dirty="0"/>
          </a:p>
        </p:txBody>
      </p:sp>
      <p:sp>
        <p:nvSpPr>
          <p:cNvPr id="6" name="Title 5">
            <a:extLst>
              <a:ext uri="{FF2B5EF4-FFF2-40B4-BE49-F238E27FC236}">
                <a16:creationId xmlns:a16="http://schemas.microsoft.com/office/drawing/2014/main" id="{5EE910A8-CAB2-D73E-B835-A0C323851BC9}"/>
              </a:ext>
            </a:extLst>
          </p:cNvPr>
          <p:cNvSpPr>
            <a:spLocks noGrp="1"/>
          </p:cNvSpPr>
          <p:nvPr>
            <p:ph type="title"/>
          </p:nvPr>
        </p:nvSpPr>
        <p:spPr/>
        <p:txBody>
          <a:bodyPr/>
          <a:lstStyle/>
          <a:p>
            <a:r>
              <a:rPr lang="en-US" noProof="0" dirty="0"/>
              <a:t>Questions</a:t>
            </a:r>
          </a:p>
        </p:txBody>
      </p:sp>
      <p:sp>
        <p:nvSpPr>
          <p:cNvPr id="2" name="Text Placeholder 1">
            <a:extLst>
              <a:ext uri="{FF2B5EF4-FFF2-40B4-BE49-F238E27FC236}">
                <a16:creationId xmlns:a16="http://schemas.microsoft.com/office/drawing/2014/main" id="{1DBC4170-1BE0-1B5B-3D1F-D344E217A26E}"/>
              </a:ext>
            </a:extLst>
          </p:cNvPr>
          <p:cNvSpPr>
            <a:spLocks noGrp="1"/>
          </p:cNvSpPr>
          <p:nvPr>
            <p:ph type="body" sz="half" idx="2"/>
          </p:nvPr>
        </p:nvSpPr>
        <p:spPr/>
        <p:txBody>
          <a:bodyPr/>
          <a:lstStyle/>
          <a:p>
            <a:endParaRPr lang="en-US" noProof="0" dirty="0"/>
          </a:p>
        </p:txBody>
      </p:sp>
    </p:spTree>
    <p:extLst>
      <p:ext uri="{BB962C8B-B14F-4D97-AF65-F5344CB8AC3E}">
        <p14:creationId xmlns:p14="http://schemas.microsoft.com/office/powerpoint/2010/main" val="2736849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695846"/>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6984ABE7-554A-3225-BB14-0D8FEB612604}"/>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1C5D13B-35FB-7B93-C82C-46B66D68BE86}"/>
              </a:ext>
            </a:extLst>
          </p:cNvPr>
          <p:cNvSpPr/>
          <p:nvPr/>
        </p:nvSpPr>
        <p:spPr>
          <a:xfrm>
            <a:off x="360858" y="4064155"/>
            <a:ext cx="4531679" cy="2230546"/>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19" name="Rectangle: Rounded Corners 18">
            <a:extLst>
              <a:ext uri="{FF2B5EF4-FFF2-40B4-BE49-F238E27FC236}">
                <a16:creationId xmlns:a16="http://schemas.microsoft.com/office/drawing/2014/main" id="{5E686D91-CF68-C846-09F1-34698C58F3D7}"/>
              </a:ext>
            </a:extLst>
          </p:cNvPr>
          <p:cNvSpPr/>
          <p:nvPr/>
        </p:nvSpPr>
        <p:spPr>
          <a:xfrm>
            <a:off x="7200930" y="1568084"/>
            <a:ext cx="4531679" cy="2230546"/>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21" name="Rectangle: Rounded Corners 20">
            <a:extLst>
              <a:ext uri="{FF2B5EF4-FFF2-40B4-BE49-F238E27FC236}">
                <a16:creationId xmlns:a16="http://schemas.microsoft.com/office/drawing/2014/main" id="{C58CB1C0-4CE5-CE0F-FA5F-AC4200C765CE}"/>
              </a:ext>
            </a:extLst>
          </p:cNvPr>
          <p:cNvSpPr/>
          <p:nvPr/>
        </p:nvSpPr>
        <p:spPr>
          <a:xfrm>
            <a:off x="7200929" y="4064155"/>
            <a:ext cx="4531679" cy="2230546"/>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2" name="Rectangle: Rounded Corners 1">
            <a:extLst>
              <a:ext uri="{FF2B5EF4-FFF2-40B4-BE49-F238E27FC236}">
                <a16:creationId xmlns:a16="http://schemas.microsoft.com/office/drawing/2014/main" id="{AF7E312C-517D-9247-AEAC-C0CDB6F203EA}"/>
              </a:ext>
            </a:extLst>
          </p:cNvPr>
          <p:cNvSpPr/>
          <p:nvPr/>
        </p:nvSpPr>
        <p:spPr>
          <a:xfrm>
            <a:off x="360858" y="1893420"/>
            <a:ext cx="4531679" cy="1929730"/>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6" name="Title 5">
            <a:extLst>
              <a:ext uri="{FF2B5EF4-FFF2-40B4-BE49-F238E27FC236}">
                <a16:creationId xmlns:a16="http://schemas.microsoft.com/office/drawing/2014/main" id="{ED298855-B30A-C60D-A9EE-0975582FF320}"/>
              </a:ext>
            </a:extLst>
          </p:cNvPr>
          <p:cNvSpPr txBox="1">
            <a:spLocks/>
          </p:cNvSpPr>
          <p:nvPr/>
        </p:nvSpPr>
        <p:spPr bwMode="auto">
          <a:xfrm>
            <a:off x="732320" y="2933896"/>
            <a:ext cx="1362783" cy="251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Easy setup:</a:t>
            </a:r>
            <a:br>
              <a:rPr lang="en-US" sz="1400" noProof="0" dirty="0"/>
            </a:br>
            <a:r>
              <a:rPr lang="en-US" sz="1400" noProof="0" dirty="0">
                <a:solidFill>
                  <a:schemeClr val="bg2"/>
                </a:solidFill>
                <a:ea typeface="Ellab Sans"/>
              </a:rPr>
              <a:t> Installation &amp; user setup </a:t>
            </a:r>
            <a:br>
              <a:rPr lang="en-US" sz="1400" noProof="0" dirty="0"/>
            </a:br>
            <a:endParaRPr lang="en-US" sz="1400" noProof="0" dirty="0"/>
          </a:p>
        </p:txBody>
      </p:sp>
      <p:grpSp>
        <p:nvGrpSpPr>
          <p:cNvPr id="5" name="Group 4">
            <a:extLst>
              <a:ext uri="{FF2B5EF4-FFF2-40B4-BE49-F238E27FC236}">
                <a16:creationId xmlns:a16="http://schemas.microsoft.com/office/drawing/2014/main" id="{2F97FEB1-BD22-5EF5-0DA4-2643121B1EC4}"/>
              </a:ext>
            </a:extLst>
          </p:cNvPr>
          <p:cNvGrpSpPr/>
          <p:nvPr/>
        </p:nvGrpSpPr>
        <p:grpSpPr>
          <a:xfrm>
            <a:off x="1018689" y="2058516"/>
            <a:ext cx="787602" cy="787595"/>
            <a:chOff x="745760" y="1984970"/>
            <a:chExt cx="787602" cy="787595"/>
          </a:xfrm>
        </p:grpSpPr>
        <p:sp>
          <p:nvSpPr>
            <p:cNvPr id="15" name="Freeform: Shape 14">
              <a:extLst>
                <a:ext uri="{FF2B5EF4-FFF2-40B4-BE49-F238E27FC236}">
                  <a16:creationId xmlns:a16="http://schemas.microsoft.com/office/drawing/2014/main" id="{6F49E8F3-04D6-C20C-2803-BDD90F44D731}"/>
                </a:ext>
              </a:extLst>
            </p:cNvPr>
            <p:cNvSpPr/>
            <p:nvPr/>
          </p:nvSpPr>
          <p:spPr>
            <a:xfrm>
              <a:off x="895006" y="2134209"/>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17" name="Freeform: Shape 16">
              <a:extLst>
                <a:ext uri="{FF2B5EF4-FFF2-40B4-BE49-F238E27FC236}">
                  <a16:creationId xmlns:a16="http://schemas.microsoft.com/office/drawing/2014/main" id="{B23FA900-C945-6A57-CE74-4FF657C79DFA}"/>
                </a:ext>
              </a:extLst>
            </p:cNvPr>
            <p:cNvSpPr/>
            <p:nvPr/>
          </p:nvSpPr>
          <p:spPr>
            <a:xfrm>
              <a:off x="745760" y="198497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sp>
        <p:nvSpPr>
          <p:cNvPr id="10" name="Title 5">
            <a:extLst>
              <a:ext uri="{FF2B5EF4-FFF2-40B4-BE49-F238E27FC236}">
                <a16:creationId xmlns:a16="http://schemas.microsoft.com/office/drawing/2014/main" id="{5EA49CC2-163D-C409-4EC3-8B08220E1996}"/>
              </a:ext>
            </a:extLst>
          </p:cNvPr>
          <p:cNvSpPr txBox="1">
            <a:spLocks/>
          </p:cNvSpPr>
          <p:nvPr/>
        </p:nvSpPr>
        <p:spPr bwMode="auto">
          <a:xfrm>
            <a:off x="7325263" y="2933896"/>
            <a:ext cx="1460659" cy="866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Result orientated: </a:t>
            </a:r>
            <a:endParaRPr lang="en-US" noProof="0" dirty="0">
              <a:solidFill>
                <a:schemeClr val="accent1"/>
              </a:solidFill>
            </a:endParaRPr>
          </a:p>
          <a:p>
            <a:pPr algn="ctr">
              <a:lnSpc>
                <a:spcPct val="100000"/>
              </a:lnSpc>
            </a:pPr>
            <a:r>
              <a:rPr lang="en-US" sz="1400" noProof="0" dirty="0">
                <a:solidFill>
                  <a:schemeClr val="bg2"/>
                </a:solidFill>
                <a:ea typeface="Ellab Sans"/>
              </a:rPr>
              <a:t>Fast evaluation</a:t>
            </a:r>
          </a:p>
        </p:txBody>
      </p:sp>
      <p:sp>
        <p:nvSpPr>
          <p:cNvPr id="14" name="Title 5">
            <a:extLst>
              <a:ext uri="{FF2B5EF4-FFF2-40B4-BE49-F238E27FC236}">
                <a16:creationId xmlns:a16="http://schemas.microsoft.com/office/drawing/2014/main" id="{2342F9B9-67A9-B854-2FE7-23A2B27D1858}"/>
              </a:ext>
            </a:extLst>
          </p:cNvPr>
          <p:cNvSpPr txBox="1">
            <a:spLocks/>
          </p:cNvSpPr>
          <p:nvPr/>
        </p:nvSpPr>
        <p:spPr bwMode="auto">
          <a:xfrm>
            <a:off x="617646" y="5288812"/>
            <a:ext cx="1548313" cy="826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Compliant: </a:t>
            </a:r>
          </a:p>
          <a:p>
            <a:pPr algn="ctr">
              <a:lnSpc>
                <a:spcPct val="100000"/>
              </a:lnSpc>
            </a:pPr>
            <a:r>
              <a:rPr lang="en-US" sz="1400" noProof="0" dirty="0">
                <a:solidFill>
                  <a:schemeClr val="bg2"/>
                </a:solidFill>
                <a:ea typeface="Ellab Sans"/>
              </a:rPr>
              <a:t>21 CFR Part 11 </a:t>
            </a:r>
          </a:p>
          <a:p>
            <a:pPr algn="ctr">
              <a:lnSpc>
                <a:spcPct val="100000"/>
              </a:lnSpc>
            </a:pPr>
            <a:r>
              <a:rPr lang="en-US" sz="1400" noProof="0" dirty="0">
                <a:solidFill>
                  <a:schemeClr val="bg2"/>
                </a:solidFill>
                <a:ea typeface="Ellab Sans"/>
              </a:rPr>
              <a:t>&amp; EU Annex 11</a:t>
            </a:r>
          </a:p>
        </p:txBody>
      </p:sp>
      <p:sp>
        <p:nvSpPr>
          <p:cNvPr id="18" name="Title 5">
            <a:extLst>
              <a:ext uri="{FF2B5EF4-FFF2-40B4-BE49-F238E27FC236}">
                <a16:creationId xmlns:a16="http://schemas.microsoft.com/office/drawing/2014/main" id="{845B22E4-2F6B-7DAD-295E-CAFBD0323647}"/>
              </a:ext>
            </a:extLst>
          </p:cNvPr>
          <p:cNvSpPr txBox="1">
            <a:spLocks/>
          </p:cNvSpPr>
          <p:nvPr/>
        </p:nvSpPr>
        <p:spPr bwMode="auto">
          <a:xfrm>
            <a:off x="7348723" y="5147824"/>
            <a:ext cx="1451332" cy="13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Time saving:</a:t>
            </a:r>
            <a:endParaRPr lang="en-US" sz="1400" noProof="0" dirty="0">
              <a:solidFill>
                <a:schemeClr val="accent1"/>
              </a:solidFill>
            </a:endParaRPr>
          </a:p>
          <a:p>
            <a:pPr algn="ctr">
              <a:lnSpc>
                <a:spcPct val="100000"/>
              </a:lnSpc>
            </a:pPr>
            <a:r>
              <a:rPr lang="en-US" sz="1400" noProof="0" dirty="0">
                <a:solidFill>
                  <a:schemeClr val="bg2"/>
                </a:solidFill>
                <a:ea typeface="Ellab Sans"/>
              </a:rPr>
              <a:t>Pre-defined names &amp;  templates</a:t>
            </a:r>
          </a:p>
        </p:txBody>
      </p:sp>
      <p:sp>
        <p:nvSpPr>
          <p:cNvPr id="30" name="TextBox 29">
            <a:extLst>
              <a:ext uri="{FF2B5EF4-FFF2-40B4-BE49-F238E27FC236}">
                <a16:creationId xmlns:a16="http://schemas.microsoft.com/office/drawing/2014/main" id="{A18C2996-7237-C33D-8B47-AA4CD152C2AB}"/>
              </a:ext>
            </a:extLst>
          </p:cNvPr>
          <p:cNvSpPr txBox="1"/>
          <p:nvPr/>
        </p:nvSpPr>
        <p:spPr>
          <a:xfrm>
            <a:off x="2413130" y="2114781"/>
            <a:ext cx="1554079" cy="147732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1000" noProof="0" dirty="0">
                <a:solidFill>
                  <a:schemeClr val="bg2"/>
                </a:solidFill>
                <a:latin typeface="+mj-lt"/>
                <a:ea typeface="Ellab Sans"/>
              </a:rPr>
              <a:t>Local or client server installation.</a:t>
            </a:r>
            <a:br>
              <a:rPr lang="en-US" sz="1000" noProof="0" dirty="0">
                <a:latin typeface="+mj-lt"/>
                <a:ea typeface="Ellab Sans"/>
              </a:rPr>
            </a:br>
            <a:endParaRPr lang="en-US" sz="1000" noProof="0" dirty="0">
              <a:solidFill>
                <a:schemeClr val="bg2"/>
              </a:solidFill>
              <a:latin typeface="+mj-lt"/>
              <a:ea typeface="Ellab Sans"/>
            </a:endParaRPr>
          </a:p>
          <a:p>
            <a:pPr marL="171450" indent="-171450">
              <a:buFont typeface="Arial" panose="020B0604020202020204" pitchFamily="34" charset="0"/>
              <a:buChar char="•"/>
            </a:pPr>
            <a:r>
              <a:rPr lang="en-US" sz="1000" noProof="0" dirty="0">
                <a:solidFill>
                  <a:schemeClr val="bg2"/>
                </a:solidFill>
                <a:latin typeface="+mj-lt"/>
                <a:ea typeface="Ellab Sans"/>
              </a:rPr>
              <a:t>Windows AD integrated security.</a:t>
            </a:r>
          </a:p>
          <a:p>
            <a:endParaRPr lang="en-US" sz="1000" noProof="0" dirty="0">
              <a:solidFill>
                <a:schemeClr val="bg2"/>
              </a:solidFill>
              <a:latin typeface="+mj-lt"/>
              <a:ea typeface="Ellab Sans"/>
            </a:endParaRPr>
          </a:p>
          <a:p>
            <a:pPr marL="171450" indent="-171450">
              <a:buFont typeface="Arial" panose="020B0604020202020204" pitchFamily="34" charset="0"/>
              <a:buChar char="•"/>
            </a:pPr>
            <a:r>
              <a:rPr lang="en-US" sz="1000" noProof="0" dirty="0">
                <a:solidFill>
                  <a:schemeClr val="bg2"/>
                </a:solidFill>
                <a:latin typeface="+mj-lt"/>
                <a:ea typeface="Ellab Sans"/>
              </a:rPr>
              <a:t>Citrix installation options.</a:t>
            </a:r>
          </a:p>
          <a:p>
            <a:endParaRPr lang="en-US" sz="1000" noProof="0" dirty="0">
              <a:solidFill>
                <a:schemeClr val="bg2"/>
              </a:solidFill>
              <a:latin typeface="+mj-lt"/>
              <a:ea typeface="Ellab Sans"/>
            </a:endParaRPr>
          </a:p>
        </p:txBody>
      </p:sp>
      <p:sp>
        <p:nvSpPr>
          <p:cNvPr id="34" name="TextBox 33">
            <a:extLst>
              <a:ext uri="{FF2B5EF4-FFF2-40B4-BE49-F238E27FC236}">
                <a16:creationId xmlns:a16="http://schemas.microsoft.com/office/drawing/2014/main" id="{FD17CE86-6922-839E-BBE0-254BE951F73D}"/>
              </a:ext>
            </a:extLst>
          </p:cNvPr>
          <p:cNvSpPr txBox="1"/>
          <p:nvPr/>
        </p:nvSpPr>
        <p:spPr>
          <a:xfrm>
            <a:off x="9333420" y="4521836"/>
            <a:ext cx="2340000" cy="1323439"/>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1000" noProof="0" dirty="0">
                <a:solidFill>
                  <a:schemeClr val="bg2"/>
                </a:solidFill>
                <a:latin typeface="+mj-lt"/>
              </a:rPr>
              <a:t>Repeat sessions using the same setup.</a:t>
            </a:r>
          </a:p>
          <a:p>
            <a:endParaRPr lang="en-US" sz="1000" noProof="0" dirty="0">
              <a:solidFill>
                <a:schemeClr val="bg2"/>
              </a:solidFill>
              <a:latin typeface="+mj-lt"/>
            </a:endParaRPr>
          </a:p>
          <a:p>
            <a:pPr marL="171450" indent="-171450">
              <a:buFont typeface="Arial" panose="020B0604020202020204" pitchFamily="34" charset="0"/>
              <a:buChar char="•"/>
            </a:pPr>
            <a:r>
              <a:rPr lang="en-US" sz="1000" noProof="0" dirty="0">
                <a:solidFill>
                  <a:schemeClr val="bg2"/>
                </a:solidFill>
                <a:latin typeface="+mj-lt"/>
                <a:ea typeface="Ellab Sans"/>
              </a:rPr>
              <a:t>Dual dynamic Auto transfer to work online and offline.</a:t>
            </a:r>
            <a:br>
              <a:rPr lang="en-US" sz="1000" noProof="0" dirty="0">
                <a:latin typeface="+mj-lt"/>
                <a:ea typeface="Ellab Sans"/>
              </a:rPr>
            </a:br>
            <a:endParaRPr lang="en-US" sz="1000" noProof="0" dirty="0">
              <a:solidFill>
                <a:schemeClr val="bg2"/>
              </a:solidFill>
              <a:latin typeface="+mj-lt"/>
              <a:ea typeface="Ellab Sans"/>
            </a:endParaRPr>
          </a:p>
          <a:p>
            <a:pPr marL="171450" indent="-171450">
              <a:buFont typeface="Arial" panose="020B0604020202020204" pitchFamily="34" charset="0"/>
              <a:buChar char="•"/>
            </a:pPr>
            <a:r>
              <a:rPr lang="en-US" sz="1000" noProof="0" dirty="0">
                <a:solidFill>
                  <a:schemeClr val="bg2"/>
                </a:solidFill>
                <a:latin typeface="+mj-lt"/>
                <a:ea typeface="Ellab Sans"/>
              </a:rPr>
              <a:t>Drag-and-drop pictures in templates. </a:t>
            </a:r>
          </a:p>
        </p:txBody>
      </p:sp>
      <p:sp>
        <p:nvSpPr>
          <p:cNvPr id="40" name="TextBox 39">
            <a:extLst>
              <a:ext uri="{FF2B5EF4-FFF2-40B4-BE49-F238E27FC236}">
                <a16:creationId xmlns:a16="http://schemas.microsoft.com/office/drawing/2014/main" id="{08037FD9-4895-A9A1-3122-892E07008358}"/>
              </a:ext>
            </a:extLst>
          </p:cNvPr>
          <p:cNvSpPr txBox="1"/>
          <p:nvPr/>
        </p:nvSpPr>
        <p:spPr>
          <a:xfrm>
            <a:off x="2413049" y="4414464"/>
            <a:ext cx="2340000" cy="1631216"/>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1000" noProof="0" dirty="0">
                <a:solidFill>
                  <a:schemeClr val="bg2"/>
                </a:solidFill>
                <a:latin typeface="+mj-lt"/>
                <a:ea typeface="Ellab Sans"/>
              </a:rPr>
              <a:t>Guaranteed data integrity.</a:t>
            </a:r>
            <a:br>
              <a:rPr lang="en-US" sz="1000" noProof="0" dirty="0">
                <a:solidFill>
                  <a:schemeClr val="bg2"/>
                </a:solidFill>
                <a:latin typeface="+mj-lt"/>
                <a:ea typeface="Ellab Sans"/>
              </a:rPr>
            </a:br>
            <a:r>
              <a:rPr lang="en-US" sz="1000" noProof="0" dirty="0">
                <a:solidFill>
                  <a:schemeClr val="bg2"/>
                </a:solidFill>
                <a:latin typeface="+mj-lt"/>
                <a:ea typeface="Ellab Sans"/>
              </a:rPr>
              <a:t> </a:t>
            </a:r>
          </a:p>
          <a:p>
            <a:pPr marL="171450" indent="-171450">
              <a:buFont typeface="Arial" panose="020B0604020202020204" pitchFamily="34" charset="0"/>
              <a:buChar char="•"/>
            </a:pPr>
            <a:r>
              <a:rPr lang="en-US" sz="1000" noProof="0" dirty="0">
                <a:solidFill>
                  <a:schemeClr val="bg2"/>
                </a:solidFill>
                <a:latin typeface="+mj-lt"/>
                <a:ea typeface="Ellab Sans"/>
              </a:rPr>
              <a:t>Full system validation on site.</a:t>
            </a:r>
          </a:p>
          <a:p>
            <a:endParaRPr lang="en-US" sz="1000" noProof="0" dirty="0">
              <a:solidFill>
                <a:schemeClr val="bg2"/>
              </a:solidFill>
              <a:latin typeface="+mj-lt"/>
            </a:endParaRPr>
          </a:p>
          <a:p>
            <a:pPr marL="171450" indent="-171450">
              <a:buFont typeface="Arial" panose="020B0604020202020204" pitchFamily="34" charset="0"/>
              <a:buChar char="•"/>
            </a:pPr>
            <a:r>
              <a:rPr lang="en-US" sz="1000" noProof="0" dirty="0">
                <a:solidFill>
                  <a:schemeClr val="bg2"/>
                </a:solidFill>
                <a:latin typeface="+mj-lt"/>
              </a:rPr>
              <a:t>Data saved in encrypted database – no tampering possible. </a:t>
            </a:r>
            <a:br>
              <a:rPr lang="en-US" sz="1000" noProof="0" dirty="0">
                <a:solidFill>
                  <a:schemeClr val="bg2"/>
                </a:solidFill>
                <a:latin typeface="+mj-lt"/>
              </a:rPr>
            </a:br>
            <a:endParaRPr lang="en-US" sz="1000" noProof="0" dirty="0">
              <a:solidFill>
                <a:schemeClr val="bg2"/>
              </a:solidFill>
              <a:latin typeface="+mj-lt"/>
              <a:ea typeface="Ellab Sans"/>
            </a:endParaRPr>
          </a:p>
          <a:p>
            <a:pPr marL="171450" indent="-171450">
              <a:buFont typeface="Arial" panose="020B0604020202020204" pitchFamily="34" charset="0"/>
              <a:buChar char="•"/>
            </a:pPr>
            <a:r>
              <a:rPr lang="en-US" sz="1000" noProof="0" dirty="0">
                <a:solidFill>
                  <a:schemeClr val="bg2"/>
                </a:solidFill>
                <a:latin typeface="+mj-lt"/>
                <a:ea typeface="Ellab Sans"/>
              </a:rPr>
              <a:t>Password protected – user profile operated.</a:t>
            </a:r>
          </a:p>
        </p:txBody>
      </p:sp>
      <p:sp>
        <p:nvSpPr>
          <p:cNvPr id="42" name="Title 41">
            <a:extLst>
              <a:ext uri="{FF2B5EF4-FFF2-40B4-BE49-F238E27FC236}">
                <a16:creationId xmlns:a16="http://schemas.microsoft.com/office/drawing/2014/main" id="{F7EC45B0-B91E-7788-15B5-83DD6192D24F}"/>
              </a:ext>
            </a:extLst>
          </p:cNvPr>
          <p:cNvSpPr>
            <a:spLocks noGrp="1"/>
          </p:cNvSpPr>
          <p:nvPr>
            <p:ph type="title"/>
          </p:nvPr>
        </p:nvSpPr>
        <p:spPr/>
        <p:txBody>
          <a:bodyPr/>
          <a:lstStyle/>
          <a:p>
            <a:r>
              <a:rPr lang="en-US" noProof="0" dirty="0">
                <a:solidFill>
                  <a:schemeClr val="bg2"/>
                </a:solidFill>
                <a:ea typeface="Ellab Sans"/>
              </a:rPr>
              <a:t>Validation Software</a:t>
            </a:r>
            <a:endParaRPr lang="en-US" noProof="0" dirty="0">
              <a:solidFill>
                <a:schemeClr val="bg2"/>
              </a:solidFill>
            </a:endParaRPr>
          </a:p>
        </p:txBody>
      </p:sp>
      <p:sp>
        <p:nvSpPr>
          <p:cNvPr id="49" name="TextBox 48">
            <a:extLst>
              <a:ext uri="{FF2B5EF4-FFF2-40B4-BE49-F238E27FC236}">
                <a16:creationId xmlns:a16="http://schemas.microsoft.com/office/drawing/2014/main" id="{2059515E-6C5B-4388-1253-79D5C9844107}"/>
              </a:ext>
            </a:extLst>
          </p:cNvPr>
          <p:cNvSpPr txBox="1"/>
          <p:nvPr/>
        </p:nvSpPr>
        <p:spPr>
          <a:xfrm>
            <a:off x="9315136" y="1928538"/>
            <a:ext cx="2340000" cy="15029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nSpc>
                <a:spcPts val="1125"/>
              </a:lnSpc>
              <a:buFont typeface="Arial" panose="020B0604020202020204" pitchFamily="34" charset="0"/>
              <a:buChar char="•"/>
            </a:pPr>
            <a:r>
              <a:rPr lang="en-US" sz="1000" noProof="0" dirty="0">
                <a:solidFill>
                  <a:schemeClr val="bg2"/>
                </a:solidFill>
                <a:latin typeface="Ellab Sans"/>
                <a:ea typeface="Ellab Sans"/>
                <a:cs typeface="Segoe UI"/>
              </a:rPr>
              <a:t>Direct Pass/Fail criteria.</a:t>
            </a:r>
          </a:p>
          <a:p>
            <a:pPr>
              <a:lnSpc>
                <a:spcPts val="1125"/>
              </a:lnSpc>
            </a:pPr>
            <a:endParaRPr lang="en-US" sz="1000" noProof="0" dirty="0">
              <a:solidFill>
                <a:schemeClr val="bg2"/>
              </a:solidFill>
              <a:latin typeface="Ellab Sans"/>
              <a:ea typeface="Ellab Sans"/>
              <a:cs typeface="Segoe UI"/>
            </a:endParaRPr>
          </a:p>
          <a:p>
            <a:pPr marL="171450" indent="-171450">
              <a:lnSpc>
                <a:spcPts val="1125"/>
              </a:lnSpc>
              <a:buFont typeface="Arial" panose="020B0604020202020204" pitchFamily="34" charset="0"/>
              <a:buChar char="•"/>
            </a:pPr>
            <a:r>
              <a:rPr lang="en-US" sz="1000" noProof="0" dirty="0">
                <a:solidFill>
                  <a:schemeClr val="bg2"/>
                </a:solidFill>
                <a:latin typeface="Ellab Sans"/>
                <a:ea typeface="Ellab Sans"/>
                <a:cs typeface="Segoe UI"/>
              </a:rPr>
              <a:t>KNEAT integration </a:t>
            </a:r>
            <a:br>
              <a:rPr lang="en-US" sz="1000" noProof="0" dirty="0">
                <a:latin typeface="Ellab Sans"/>
                <a:ea typeface="Ellab Sans"/>
                <a:cs typeface="Segoe UI"/>
              </a:rPr>
            </a:br>
            <a:endParaRPr lang="en-US" sz="1000" noProof="0" dirty="0">
              <a:solidFill>
                <a:schemeClr val="bg2"/>
              </a:solidFill>
              <a:latin typeface="Ellab Sans"/>
              <a:ea typeface="Ellab Sans"/>
              <a:cs typeface="Segoe UI"/>
            </a:endParaRPr>
          </a:p>
          <a:p>
            <a:pPr marL="171450" indent="-171450">
              <a:lnSpc>
                <a:spcPts val="1125"/>
              </a:lnSpc>
              <a:buFont typeface="Arial" panose="020B0604020202020204" pitchFamily="34" charset="0"/>
              <a:buChar char="•"/>
            </a:pPr>
            <a:r>
              <a:rPr lang="en-US" sz="1000" noProof="0" dirty="0">
                <a:solidFill>
                  <a:schemeClr val="bg2"/>
                </a:solidFill>
                <a:latin typeface="Ellab Sans"/>
                <a:ea typeface="Ellab Sans"/>
                <a:cs typeface="Segoe UI"/>
              </a:rPr>
              <a:t>Merge sessions to detect trends.</a:t>
            </a:r>
            <a:br>
              <a:rPr lang="en-US" sz="1000" noProof="0" dirty="0">
                <a:latin typeface="Ellab Sans"/>
                <a:ea typeface="Ellab Sans"/>
                <a:cs typeface="Segoe UI"/>
              </a:rPr>
            </a:br>
            <a:endParaRPr lang="en-US" sz="1000" noProof="0" dirty="0">
              <a:solidFill>
                <a:schemeClr val="bg2"/>
              </a:solidFill>
              <a:latin typeface="Ellab Sans"/>
              <a:ea typeface="Ellab Sans"/>
              <a:cs typeface="Segoe UI"/>
            </a:endParaRPr>
          </a:p>
          <a:p>
            <a:pPr marL="171450" indent="-171450">
              <a:lnSpc>
                <a:spcPts val="1125"/>
              </a:lnSpc>
              <a:buFont typeface="Arial" panose="020B0604020202020204" pitchFamily="34" charset="0"/>
              <a:buChar char="•"/>
            </a:pPr>
            <a:r>
              <a:rPr lang="en-US" sz="1000" noProof="0" dirty="0">
                <a:solidFill>
                  <a:schemeClr val="bg2"/>
                </a:solidFill>
                <a:latin typeface="Ellab Sans"/>
                <a:ea typeface="Ellab Sans"/>
                <a:cs typeface="Segoe UI"/>
              </a:rPr>
              <a:t>Periodic evaluation. </a:t>
            </a:r>
            <a:br>
              <a:rPr lang="en-US" sz="1000" noProof="0" dirty="0">
                <a:latin typeface="Ellab Sans"/>
                <a:ea typeface="Ellab Sans"/>
                <a:cs typeface="Segoe UI"/>
              </a:rPr>
            </a:br>
            <a:endParaRPr lang="en-US" sz="1000" noProof="0" dirty="0">
              <a:solidFill>
                <a:schemeClr val="bg2"/>
              </a:solidFill>
              <a:latin typeface="Ellab Sans"/>
              <a:ea typeface="Ellab Sans"/>
              <a:cs typeface="Segoe UI"/>
            </a:endParaRPr>
          </a:p>
          <a:p>
            <a:pPr marL="171450" indent="-171450">
              <a:lnSpc>
                <a:spcPts val="1125"/>
              </a:lnSpc>
              <a:buFont typeface="Arial" panose="020B0604020202020204" pitchFamily="34" charset="0"/>
              <a:buChar char="•"/>
            </a:pPr>
            <a:r>
              <a:rPr lang="en-US" sz="1000" noProof="0" dirty="0">
                <a:solidFill>
                  <a:schemeClr val="bg2"/>
                </a:solidFill>
                <a:latin typeface="Ellab Sans"/>
                <a:ea typeface="Ellab Sans"/>
                <a:cs typeface="Segoe UI"/>
              </a:rPr>
              <a:t>Pre-defined reports according to ISO norms.</a:t>
            </a:r>
          </a:p>
        </p:txBody>
      </p:sp>
      <p:pic>
        <p:nvPicPr>
          <p:cNvPr id="51" name="Picture 50" descr="Ellab Wired Validation Solution | Safeguard your Biopharmaceuticals">
            <a:extLst>
              <a:ext uri="{FF2B5EF4-FFF2-40B4-BE49-F238E27FC236}">
                <a16:creationId xmlns:a16="http://schemas.microsoft.com/office/drawing/2014/main" id="{500E18D9-1FFD-6830-BB87-2023105DEE81}"/>
              </a:ext>
            </a:extLst>
          </p:cNvPr>
          <p:cNvPicPr>
            <a:picLocks noChangeAspect="1"/>
          </p:cNvPicPr>
          <p:nvPr/>
        </p:nvPicPr>
        <p:blipFill>
          <a:blip r:embed="rId4"/>
          <a:srcRect l="16741" t="24355"/>
          <a:stretch/>
        </p:blipFill>
        <p:spPr>
          <a:xfrm>
            <a:off x="4294403" y="2707766"/>
            <a:ext cx="3965986" cy="2917811"/>
          </a:xfrm>
          <a:prstGeom prst="rect">
            <a:avLst/>
          </a:prstGeom>
        </p:spPr>
      </p:pic>
      <p:sp>
        <p:nvSpPr>
          <p:cNvPr id="3" name="Text Placeholder 4">
            <a:extLst>
              <a:ext uri="{FF2B5EF4-FFF2-40B4-BE49-F238E27FC236}">
                <a16:creationId xmlns:a16="http://schemas.microsoft.com/office/drawing/2014/main" id="{B005F419-7C6F-3169-9D26-2EC9C817E974}"/>
              </a:ext>
            </a:extLst>
          </p:cNvPr>
          <p:cNvSpPr txBox="1">
            <a:spLocks/>
          </p:cNvSpPr>
          <p:nvPr/>
        </p:nvSpPr>
        <p:spPr bwMode="auto">
          <a:xfrm>
            <a:off x="381609" y="1454353"/>
            <a:ext cx="11485562" cy="333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sz="1600" noProof="0" dirty="0">
                <a:effectLst/>
                <a:latin typeface="+mj-lt"/>
              </a:rPr>
              <a:t>Everyday mapping made quicker with ValSuite</a:t>
            </a:r>
            <a:r>
              <a:rPr lang="en-US" noProof="0" dirty="0">
                <a:latin typeface="+mj-lt"/>
              </a:rPr>
              <a:t>®</a:t>
            </a:r>
          </a:p>
        </p:txBody>
      </p:sp>
      <p:sp>
        <p:nvSpPr>
          <p:cNvPr id="25" name="Freeform: Shape 24">
            <a:extLst>
              <a:ext uri="{FF2B5EF4-FFF2-40B4-BE49-F238E27FC236}">
                <a16:creationId xmlns:a16="http://schemas.microsoft.com/office/drawing/2014/main" id="{4F11E236-5E98-3434-5803-0F08667A035F}"/>
              </a:ext>
            </a:extLst>
          </p:cNvPr>
          <p:cNvSpPr/>
          <p:nvPr/>
        </p:nvSpPr>
        <p:spPr>
          <a:xfrm>
            <a:off x="7844359" y="4414060"/>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27" name="Freeform: Shape 26">
            <a:extLst>
              <a:ext uri="{FF2B5EF4-FFF2-40B4-BE49-F238E27FC236}">
                <a16:creationId xmlns:a16="http://schemas.microsoft.com/office/drawing/2014/main" id="{C28041B5-E8E9-DC2D-730A-197AF9F1C88A}"/>
              </a:ext>
            </a:extLst>
          </p:cNvPr>
          <p:cNvSpPr/>
          <p:nvPr/>
        </p:nvSpPr>
        <p:spPr>
          <a:xfrm>
            <a:off x="7695113" y="4271645"/>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nvGrpSpPr>
          <p:cNvPr id="32" name="Group 31">
            <a:extLst>
              <a:ext uri="{FF2B5EF4-FFF2-40B4-BE49-F238E27FC236}">
                <a16:creationId xmlns:a16="http://schemas.microsoft.com/office/drawing/2014/main" id="{A551E692-5D40-AE3D-49CF-EB3EE6BF5FF4}"/>
              </a:ext>
            </a:extLst>
          </p:cNvPr>
          <p:cNvGrpSpPr/>
          <p:nvPr/>
        </p:nvGrpSpPr>
        <p:grpSpPr>
          <a:xfrm>
            <a:off x="7680588" y="1921673"/>
            <a:ext cx="787602" cy="787595"/>
            <a:chOff x="898160" y="2137370"/>
            <a:chExt cx="787602" cy="787595"/>
          </a:xfrm>
        </p:grpSpPr>
        <p:sp>
          <p:nvSpPr>
            <p:cNvPr id="29" name="Freeform: Shape 28">
              <a:extLst>
                <a:ext uri="{FF2B5EF4-FFF2-40B4-BE49-F238E27FC236}">
                  <a16:creationId xmlns:a16="http://schemas.microsoft.com/office/drawing/2014/main" id="{E7543356-B79E-B674-4680-56F745388CCF}"/>
                </a:ext>
              </a:extLst>
            </p:cNvPr>
            <p:cNvSpPr/>
            <p:nvPr/>
          </p:nvSpPr>
          <p:spPr>
            <a:xfrm>
              <a:off x="1047406" y="2286609"/>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31" name="Freeform: Shape 30">
              <a:extLst>
                <a:ext uri="{FF2B5EF4-FFF2-40B4-BE49-F238E27FC236}">
                  <a16:creationId xmlns:a16="http://schemas.microsoft.com/office/drawing/2014/main" id="{0B7187E9-5CAF-C7B6-AFEF-CA1B73469A07}"/>
                </a:ext>
              </a:extLst>
            </p:cNvPr>
            <p:cNvSpPr/>
            <p:nvPr/>
          </p:nvSpPr>
          <p:spPr>
            <a:xfrm>
              <a:off x="898160" y="213737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grpSp>
        <p:nvGrpSpPr>
          <p:cNvPr id="33" name="Group 32">
            <a:extLst>
              <a:ext uri="{FF2B5EF4-FFF2-40B4-BE49-F238E27FC236}">
                <a16:creationId xmlns:a16="http://schemas.microsoft.com/office/drawing/2014/main" id="{704B9019-11FA-42ED-063A-8BC648606551}"/>
              </a:ext>
            </a:extLst>
          </p:cNvPr>
          <p:cNvGrpSpPr/>
          <p:nvPr/>
        </p:nvGrpSpPr>
        <p:grpSpPr>
          <a:xfrm>
            <a:off x="993432" y="4389756"/>
            <a:ext cx="787602" cy="787595"/>
            <a:chOff x="898160" y="2137370"/>
            <a:chExt cx="787602" cy="787595"/>
          </a:xfrm>
        </p:grpSpPr>
        <p:sp>
          <p:nvSpPr>
            <p:cNvPr id="35" name="Freeform: Shape 34">
              <a:extLst>
                <a:ext uri="{FF2B5EF4-FFF2-40B4-BE49-F238E27FC236}">
                  <a16:creationId xmlns:a16="http://schemas.microsoft.com/office/drawing/2014/main" id="{E46A7819-6F9F-8D5E-E003-623D7B387A26}"/>
                </a:ext>
              </a:extLst>
            </p:cNvPr>
            <p:cNvSpPr/>
            <p:nvPr/>
          </p:nvSpPr>
          <p:spPr>
            <a:xfrm>
              <a:off x="1047406" y="2286609"/>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36" name="Freeform: Shape 35">
              <a:extLst>
                <a:ext uri="{FF2B5EF4-FFF2-40B4-BE49-F238E27FC236}">
                  <a16:creationId xmlns:a16="http://schemas.microsoft.com/office/drawing/2014/main" id="{90C50259-CB36-2B10-B61A-22E93EB9CB44}"/>
                </a:ext>
              </a:extLst>
            </p:cNvPr>
            <p:cNvSpPr/>
            <p:nvPr/>
          </p:nvSpPr>
          <p:spPr>
            <a:xfrm>
              <a:off x="898160" y="213737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sp>
        <p:nvSpPr>
          <p:cNvPr id="4" name="TextBox 3">
            <a:extLst>
              <a:ext uri="{FF2B5EF4-FFF2-40B4-BE49-F238E27FC236}">
                <a16:creationId xmlns:a16="http://schemas.microsoft.com/office/drawing/2014/main" id="{0E55603F-89E9-0EC1-B3FC-44AD324485E1}"/>
              </a:ext>
            </a:extLst>
          </p:cNvPr>
          <p:cNvSpPr txBox="1"/>
          <p:nvPr/>
        </p:nvSpPr>
        <p:spPr>
          <a:xfrm>
            <a:off x="76057" y="6339397"/>
            <a:ext cx="1279420" cy="415498"/>
          </a:xfrm>
          <a:prstGeom prst="rect">
            <a:avLst/>
          </a:prstGeom>
          <a:noFill/>
        </p:spPr>
        <p:txBody>
          <a:bodyPr wrap="square" rtlCol="0">
            <a:spAutoFit/>
          </a:bodyPr>
          <a:lstStyle/>
          <a:p>
            <a:r>
              <a:rPr lang="en-US" sz="700" noProof="0" dirty="0">
                <a:solidFill>
                  <a:schemeClr val="accent1"/>
                </a:solidFill>
                <a:latin typeface="Ellab Sans SemiBold" panose="02000503000000020004" pitchFamily="2" charset="0"/>
                <a:ea typeface="Ellab Sans SemiBold" panose="02000503000000020004" pitchFamily="2" charset="0"/>
                <a:cs typeface="Ellab Sans SemiBold" panose="02000503000000020004" pitchFamily="2" charset="0"/>
              </a:rPr>
              <a:t>Your Life Science</a:t>
            </a:r>
          </a:p>
          <a:p>
            <a:r>
              <a:rPr lang="en-US" sz="700" noProof="0" dirty="0">
                <a:solidFill>
                  <a:schemeClr val="accent1"/>
                </a:solidFill>
                <a:latin typeface="Ellab Sans SemiBold" panose="02000503000000020004" pitchFamily="2" charset="0"/>
                <a:ea typeface="Ellab Sans SemiBold" panose="02000503000000020004" pitchFamily="2" charset="0"/>
                <a:cs typeface="Ellab Sans SemiBold" panose="02000503000000020004" pitchFamily="2" charset="0"/>
              </a:rPr>
              <a:t>Compliance</a:t>
            </a:r>
          </a:p>
          <a:p>
            <a:r>
              <a:rPr lang="en-US" sz="700" noProof="0" dirty="0">
                <a:solidFill>
                  <a:schemeClr val="bg2"/>
                </a:solidFill>
                <a:latin typeface="Ellab Sans SemiBold" panose="02000503000000020004" pitchFamily="2" charset="0"/>
                <a:ea typeface="Ellab Sans SemiBold" panose="02000503000000020004" pitchFamily="2" charset="0"/>
                <a:cs typeface="Ellab Sans SemiBold" panose="02000503000000020004" pitchFamily="2" charset="0"/>
              </a:rPr>
              <a:t>Partner</a:t>
            </a:r>
          </a:p>
        </p:txBody>
      </p:sp>
    </p:spTree>
    <p:extLst>
      <p:ext uri="{BB962C8B-B14F-4D97-AF65-F5344CB8AC3E}">
        <p14:creationId xmlns:p14="http://schemas.microsoft.com/office/powerpoint/2010/main" val="1988924317"/>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6E99CDFE-FBAE-0246-58E8-FDBB5631677F}"/>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DE0BF63E-B484-7D44-A0B2-5E27E0BC86E1}"/>
              </a:ext>
            </a:extLst>
          </p:cNvPr>
          <p:cNvSpPr/>
          <p:nvPr/>
        </p:nvSpPr>
        <p:spPr>
          <a:xfrm>
            <a:off x="360858" y="4064155"/>
            <a:ext cx="4531679" cy="2230546"/>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19" name="Rectangle: Rounded Corners 18">
            <a:extLst>
              <a:ext uri="{FF2B5EF4-FFF2-40B4-BE49-F238E27FC236}">
                <a16:creationId xmlns:a16="http://schemas.microsoft.com/office/drawing/2014/main" id="{7E7F30AD-B293-4D22-2E16-84D2CAA2B510}"/>
              </a:ext>
            </a:extLst>
          </p:cNvPr>
          <p:cNvSpPr/>
          <p:nvPr/>
        </p:nvSpPr>
        <p:spPr>
          <a:xfrm>
            <a:off x="7200930" y="343189"/>
            <a:ext cx="4531679" cy="2230546"/>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21" name="Rectangle: Rounded Corners 20">
            <a:extLst>
              <a:ext uri="{FF2B5EF4-FFF2-40B4-BE49-F238E27FC236}">
                <a16:creationId xmlns:a16="http://schemas.microsoft.com/office/drawing/2014/main" id="{D30BECC8-CD4D-A015-A931-D77ABFA98B5D}"/>
              </a:ext>
            </a:extLst>
          </p:cNvPr>
          <p:cNvSpPr/>
          <p:nvPr/>
        </p:nvSpPr>
        <p:spPr>
          <a:xfrm>
            <a:off x="7200929" y="2839260"/>
            <a:ext cx="4531679" cy="1699735"/>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2" name="Rectangle: Rounded Corners 1">
            <a:extLst>
              <a:ext uri="{FF2B5EF4-FFF2-40B4-BE49-F238E27FC236}">
                <a16:creationId xmlns:a16="http://schemas.microsoft.com/office/drawing/2014/main" id="{A81B9022-1691-5DF3-221A-ADCB2AE1F48D}"/>
              </a:ext>
            </a:extLst>
          </p:cNvPr>
          <p:cNvSpPr/>
          <p:nvPr/>
        </p:nvSpPr>
        <p:spPr>
          <a:xfrm>
            <a:off x="360858" y="1893420"/>
            <a:ext cx="4531679" cy="1929730"/>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6" name="Title 5">
            <a:extLst>
              <a:ext uri="{FF2B5EF4-FFF2-40B4-BE49-F238E27FC236}">
                <a16:creationId xmlns:a16="http://schemas.microsoft.com/office/drawing/2014/main" id="{DCEEDC42-F150-26D7-6FA1-B8AF0A7BF546}"/>
              </a:ext>
            </a:extLst>
          </p:cNvPr>
          <p:cNvSpPr txBox="1">
            <a:spLocks/>
          </p:cNvSpPr>
          <p:nvPr/>
        </p:nvSpPr>
        <p:spPr bwMode="auto">
          <a:xfrm>
            <a:off x="732320" y="2933896"/>
            <a:ext cx="1362783" cy="251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Database Design</a:t>
            </a:r>
            <a:br>
              <a:rPr lang="en-US" sz="1400" noProof="0" dirty="0"/>
            </a:br>
            <a:endParaRPr lang="en-US" sz="1400" noProof="0" dirty="0"/>
          </a:p>
        </p:txBody>
      </p:sp>
      <p:grpSp>
        <p:nvGrpSpPr>
          <p:cNvPr id="5" name="Group 4">
            <a:extLst>
              <a:ext uri="{FF2B5EF4-FFF2-40B4-BE49-F238E27FC236}">
                <a16:creationId xmlns:a16="http://schemas.microsoft.com/office/drawing/2014/main" id="{7B3A90D4-8FAD-B552-87CC-4AF8839779DD}"/>
              </a:ext>
            </a:extLst>
          </p:cNvPr>
          <p:cNvGrpSpPr/>
          <p:nvPr/>
        </p:nvGrpSpPr>
        <p:grpSpPr>
          <a:xfrm>
            <a:off x="1018689" y="2058516"/>
            <a:ext cx="787602" cy="787595"/>
            <a:chOff x="745760" y="1984970"/>
            <a:chExt cx="787602" cy="787595"/>
          </a:xfrm>
        </p:grpSpPr>
        <p:sp>
          <p:nvSpPr>
            <p:cNvPr id="15" name="Freeform: Shape 14">
              <a:extLst>
                <a:ext uri="{FF2B5EF4-FFF2-40B4-BE49-F238E27FC236}">
                  <a16:creationId xmlns:a16="http://schemas.microsoft.com/office/drawing/2014/main" id="{75D5CF92-5719-BB92-20FA-C8E4814FA21E}"/>
                </a:ext>
              </a:extLst>
            </p:cNvPr>
            <p:cNvSpPr/>
            <p:nvPr/>
          </p:nvSpPr>
          <p:spPr>
            <a:xfrm>
              <a:off x="895006" y="2134209"/>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17" name="Freeform: Shape 16">
              <a:extLst>
                <a:ext uri="{FF2B5EF4-FFF2-40B4-BE49-F238E27FC236}">
                  <a16:creationId xmlns:a16="http://schemas.microsoft.com/office/drawing/2014/main" id="{D5068B75-BC10-DE8F-1472-9E49E8468619}"/>
                </a:ext>
              </a:extLst>
            </p:cNvPr>
            <p:cNvSpPr/>
            <p:nvPr/>
          </p:nvSpPr>
          <p:spPr>
            <a:xfrm>
              <a:off x="745760" y="198497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sp>
        <p:nvSpPr>
          <p:cNvPr id="10" name="Title 5">
            <a:extLst>
              <a:ext uri="{FF2B5EF4-FFF2-40B4-BE49-F238E27FC236}">
                <a16:creationId xmlns:a16="http://schemas.microsoft.com/office/drawing/2014/main" id="{991E98F6-2D7C-099C-8D12-86DE85B9EACB}"/>
              </a:ext>
            </a:extLst>
          </p:cNvPr>
          <p:cNvSpPr txBox="1">
            <a:spLocks/>
          </p:cNvSpPr>
          <p:nvPr/>
        </p:nvSpPr>
        <p:spPr bwMode="auto">
          <a:xfrm>
            <a:off x="7325263" y="1555067"/>
            <a:ext cx="1460659" cy="866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Security Modes &amp; Access Manager – 2 security formats</a:t>
            </a:r>
          </a:p>
        </p:txBody>
      </p:sp>
      <p:sp>
        <p:nvSpPr>
          <p:cNvPr id="14" name="Title 5">
            <a:extLst>
              <a:ext uri="{FF2B5EF4-FFF2-40B4-BE49-F238E27FC236}">
                <a16:creationId xmlns:a16="http://schemas.microsoft.com/office/drawing/2014/main" id="{CE613B77-7887-E3B1-4EB2-DD20D821DEDD}"/>
              </a:ext>
            </a:extLst>
          </p:cNvPr>
          <p:cNvSpPr txBox="1">
            <a:spLocks/>
          </p:cNvSpPr>
          <p:nvPr/>
        </p:nvSpPr>
        <p:spPr bwMode="auto">
          <a:xfrm>
            <a:off x="617646" y="5288812"/>
            <a:ext cx="1548313" cy="826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Electronic Signature</a:t>
            </a:r>
          </a:p>
        </p:txBody>
      </p:sp>
      <p:sp>
        <p:nvSpPr>
          <p:cNvPr id="18" name="Title 5">
            <a:extLst>
              <a:ext uri="{FF2B5EF4-FFF2-40B4-BE49-F238E27FC236}">
                <a16:creationId xmlns:a16="http://schemas.microsoft.com/office/drawing/2014/main" id="{536DA3FF-A607-DCFC-B8A1-DED73C9F7376}"/>
              </a:ext>
            </a:extLst>
          </p:cNvPr>
          <p:cNvSpPr txBox="1">
            <a:spLocks/>
          </p:cNvSpPr>
          <p:nvPr/>
        </p:nvSpPr>
        <p:spPr bwMode="auto">
          <a:xfrm>
            <a:off x="7348723" y="3922929"/>
            <a:ext cx="1451332" cy="967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Audit Trail</a:t>
            </a:r>
          </a:p>
        </p:txBody>
      </p:sp>
      <p:sp>
        <p:nvSpPr>
          <p:cNvPr id="30" name="TextBox 29">
            <a:extLst>
              <a:ext uri="{FF2B5EF4-FFF2-40B4-BE49-F238E27FC236}">
                <a16:creationId xmlns:a16="http://schemas.microsoft.com/office/drawing/2014/main" id="{2DF43FE6-850B-3E15-2E9F-D990630DCB7D}"/>
              </a:ext>
            </a:extLst>
          </p:cNvPr>
          <p:cNvSpPr txBox="1"/>
          <p:nvPr/>
        </p:nvSpPr>
        <p:spPr>
          <a:xfrm>
            <a:off x="2413130" y="2006713"/>
            <a:ext cx="1965446" cy="2100575"/>
          </a:xfrm>
          <a:prstGeom prst="rect">
            <a:avLst/>
          </a:prstGeom>
          <a:noFill/>
        </p:spPr>
        <p:txBody>
          <a:bodyPr wrap="square" lIns="91440" tIns="45720" rIns="91440" bIns="45720" rtlCol="0" anchor="t">
            <a:spAutoFit/>
          </a:bodyPr>
          <a:lstStyle/>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rPr>
              <a:t>Data cannot be tampered </a:t>
            </a:r>
          </a:p>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rPr>
              <a:t>Session data stored in MS SQL database (formatted as a BLOB in a V8x file, with CRC checks)</a:t>
            </a:r>
          </a:p>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rPr>
              <a:t>Supported with secure communication protocols (TLS 1.2 &amp; LDAPS)</a:t>
            </a:r>
          </a:p>
          <a:p>
            <a:pPr>
              <a:spcBef>
                <a:spcPts val="600"/>
              </a:spcBef>
              <a:buClr>
                <a:schemeClr val="accent1"/>
              </a:buClr>
            </a:pPr>
            <a:endParaRPr lang="en-US" sz="1050" noProof="0" dirty="0">
              <a:solidFill>
                <a:schemeClr val="bg2"/>
              </a:solidFill>
              <a:latin typeface="+mj-lt"/>
              <a:ea typeface="Ellab Sans"/>
            </a:endParaRPr>
          </a:p>
        </p:txBody>
      </p:sp>
      <p:sp>
        <p:nvSpPr>
          <p:cNvPr id="34" name="TextBox 33">
            <a:extLst>
              <a:ext uri="{FF2B5EF4-FFF2-40B4-BE49-F238E27FC236}">
                <a16:creationId xmlns:a16="http://schemas.microsoft.com/office/drawing/2014/main" id="{0955D912-5CB7-D7D2-A681-95493839E959}"/>
              </a:ext>
            </a:extLst>
          </p:cNvPr>
          <p:cNvSpPr txBox="1"/>
          <p:nvPr/>
        </p:nvSpPr>
        <p:spPr>
          <a:xfrm>
            <a:off x="9333420" y="2985784"/>
            <a:ext cx="2340000" cy="1538883"/>
          </a:xfrm>
          <a:prstGeom prst="rect">
            <a:avLst/>
          </a:prstGeom>
          <a:noFill/>
        </p:spPr>
        <p:txBody>
          <a:bodyPr wrap="square" lIns="91440" tIns="45720" rIns="91440" bIns="45720" rtlCol="0" anchor="t">
            <a:spAutoFit/>
          </a:bodyPr>
          <a:lstStyle/>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rPr>
              <a:t>Full traceability of actions (who, what, when)</a:t>
            </a:r>
          </a:p>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rPr>
              <a:t>Support 222 critical transactions within the software</a:t>
            </a:r>
          </a:p>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rPr>
              <a:t>Users can add comments to audit trail facilitating quality reviews (QA &amp; external auditor)</a:t>
            </a:r>
          </a:p>
        </p:txBody>
      </p:sp>
      <p:sp>
        <p:nvSpPr>
          <p:cNvPr id="40" name="TextBox 39">
            <a:extLst>
              <a:ext uri="{FF2B5EF4-FFF2-40B4-BE49-F238E27FC236}">
                <a16:creationId xmlns:a16="http://schemas.microsoft.com/office/drawing/2014/main" id="{9B303AE6-5292-C43C-115D-5FE5FF44E7F7}"/>
              </a:ext>
            </a:extLst>
          </p:cNvPr>
          <p:cNvSpPr txBox="1"/>
          <p:nvPr/>
        </p:nvSpPr>
        <p:spPr>
          <a:xfrm>
            <a:off x="2413049" y="4414464"/>
            <a:ext cx="2340000" cy="815608"/>
          </a:xfrm>
          <a:prstGeom prst="rect">
            <a:avLst/>
          </a:prstGeom>
          <a:noFill/>
        </p:spPr>
        <p:txBody>
          <a:bodyPr wrap="square" lIns="91440" tIns="45720" rIns="91440" bIns="45720" rtlCol="0" anchor="t">
            <a:spAutoFit/>
          </a:bodyPr>
          <a:lstStyle/>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rPr>
              <a:t>Secures digital approval by everyone involved in workflow</a:t>
            </a:r>
          </a:p>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rPr>
              <a:t>Specialized report for approval flow</a:t>
            </a:r>
          </a:p>
        </p:txBody>
      </p:sp>
      <p:sp>
        <p:nvSpPr>
          <p:cNvPr id="42" name="Title 41">
            <a:extLst>
              <a:ext uri="{FF2B5EF4-FFF2-40B4-BE49-F238E27FC236}">
                <a16:creationId xmlns:a16="http://schemas.microsoft.com/office/drawing/2014/main" id="{DC0012EE-8BD1-EDCD-2C77-F5A2000D2FF8}"/>
              </a:ext>
            </a:extLst>
          </p:cNvPr>
          <p:cNvSpPr>
            <a:spLocks noGrp="1"/>
          </p:cNvSpPr>
          <p:nvPr>
            <p:ph type="title"/>
          </p:nvPr>
        </p:nvSpPr>
        <p:spPr/>
        <p:txBody>
          <a:bodyPr/>
          <a:lstStyle/>
          <a:p>
            <a:r>
              <a:rPr lang="en-US" noProof="0" dirty="0">
                <a:solidFill>
                  <a:schemeClr val="bg1"/>
                </a:solidFill>
                <a:latin typeface="Ellab Sans" panose="02000503000000020004" pitchFamily="2" charset="0"/>
              </a:rPr>
              <a:t>ValSuite</a:t>
            </a:r>
            <a:r>
              <a:rPr lang="en-US" noProof="0" dirty="0">
                <a:solidFill>
                  <a:schemeClr val="bg2"/>
                </a:solidFill>
              </a:rPr>
              <a:t>®</a:t>
            </a:r>
            <a:r>
              <a:rPr lang="en-US" noProof="0" dirty="0">
                <a:solidFill>
                  <a:schemeClr val="bg1"/>
                </a:solidFill>
                <a:latin typeface="Ellab Sans" panose="02000503000000020004" pitchFamily="2" charset="0"/>
              </a:rPr>
              <a:t> Software Highlights</a:t>
            </a:r>
            <a:endParaRPr lang="en-US" noProof="0" dirty="0">
              <a:solidFill>
                <a:schemeClr val="bg1"/>
              </a:solidFill>
            </a:endParaRPr>
          </a:p>
        </p:txBody>
      </p:sp>
      <p:sp>
        <p:nvSpPr>
          <p:cNvPr id="49" name="TextBox 48">
            <a:extLst>
              <a:ext uri="{FF2B5EF4-FFF2-40B4-BE49-F238E27FC236}">
                <a16:creationId xmlns:a16="http://schemas.microsoft.com/office/drawing/2014/main" id="{6C17454E-2C5A-6F6B-BB94-AEC8C4771C9D}"/>
              </a:ext>
            </a:extLst>
          </p:cNvPr>
          <p:cNvSpPr txBox="1"/>
          <p:nvPr/>
        </p:nvSpPr>
        <p:spPr>
          <a:xfrm>
            <a:off x="9315136" y="703643"/>
            <a:ext cx="2340000" cy="9515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nSpc>
                <a:spcPts val="1125"/>
              </a:lnSpc>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cs typeface="Segoe UI"/>
              </a:rPr>
              <a:t>Only access for authorized  personnel</a:t>
            </a:r>
          </a:p>
          <a:p>
            <a:pPr marL="171450" indent="-171450">
              <a:lnSpc>
                <a:spcPts val="1125"/>
              </a:lnSpc>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cs typeface="Segoe UI"/>
              </a:rPr>
              <a:t>Standalone ValSuite security </a:t>
            </a:r>
          </a:p>
          <a:p>
            <a:pPr marL="171450" indent="-171450">
              <a:lnSpc>
                <a:spcPts val="1125"/>
              </a:lnSpc>
              <a:spcBef>
                <a:spcPts val="600"/>
              </a:spcBef>
              <a:buClr>
                <a:schemeClr val="accent1"/>
              </a:buClr>
              <a:buFont typeface="Arial" panose="020B0604020202020204" pitchFamily="34" charset="0"/>
              <a:buChar char="•"/>
            </a:pPr>
            <a:r>
              <a:rPr lang="en-US" sz="1050" noProof="0" dirty="0">
                <a:solidFill>
                  <a:schemeClr val="bg2"/>
                </a:solidFill>
                <a:latin typeface="+mj-lt"/>
                <a:ea typeface="Ellab Sans"/>
                <a:cs typeface="Segoe UI"/>
              </a:rPr>
              <a:t>Windows AD integrated security platform</a:t>
            </a:r>
          </a:p>
        </p:txBody>
      </p:sp>
      <p:pic>
        <p:nvPicPr>
          <p:cNvPr id="51" name="Picture 50" descr="Ellab Wired Validation Solution | Safeguard your Biopharmaceuticals">
            <a:extLst>
              <a:ext uri="{FF2B5EF4-FFF2-40B4-BE49-F238E27FC236}">
                <a16:creationId xmlns:a16="http://schemas.microsoft.com/office/drawing/2014/main" id="{80DC2E4E-46CC-5892-06A2-68620A3F97AB}"/>
              </a:ext>
            </a:extLst>
          </p:cNvPr>
          <p:cNvPicPr>
            <a:picLocks noChangeAspect="1"/>
          </p:cNvPicPr>
          <p:nvPr/>
        </p:nvPicPr>
        <p:blipFill>
          <a:blip r:embed="rId3"/>
          <a:srcRect l="16741" t="24355"/>
          <a:stretch/>
        </p:blipFill>
        <p:spPr>
          <a:xfrm>
            <a:off x="4294403" y="2707766"/>
            <a:ext cx="3965986" cy="2917811"/>
          </a:xfrm>
          <a:prstGeom prst="rect">
            <a:avLst/>
          </a:prstGeom>
        </p:spPr>
      </p:pic>
      <p:sp>
        <p:nvSpPr>
          <p:cNvPr id="3" name="Text Placeholder 4">
            <a:extLst>
              <a:ext uri="{FF2B5EF4-FFF2-40B4-BE49-F238E27FC236}">
                <a16:creationId xmlns:a16="http://schemas.microsoft.com/office/drawing/2014/main" id="{9E8A5379-958A-39BA-1349-DD96324A2D58}"/>
              </a:ext>
            </a:extLst>
          </p:cNvPr>
          <p:cNvSpPr txBox="1">
            <a:spLocks/>
          </p:cNvSpPr>
          <p:nvPr/>
        </p:nvSpPr>
        <p:spPr bwMode="auto">
          <a:xfrm>
            <a:off x="381609" y="1454353"/>
            <a:ext cx="11485562" cy="333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noProof="0" dirty="0">
                <a:latin typeface="Ellab Sans" panose="02000503000000020004" pitchFamily="2" charset="0"/>
              </a:rPr>
              <a:t>FDA 21 CFR part 11, ISO9001 and GAMP 5 compliant</a:t>
            </a:r>
          </a:p>
        </p:txBody>
      </p:sp>
      <p:sp>
        <p:nvSpPr>
          <p:cNvPr id="25" name="Freeform: Shape 24">
            <a:extLst>
              <a:ext uri="{FF2B5EF4-FFF2-40B4-BE49-F238E27FC236}">
                <a16:creationId xmlns:a16="http://schemas.microsoft.com/office/drawing/2014/main" id="{82BD5BC9-EBB5-88F8-0DA7-22A33D1B8AB8}"/>
              </a:ext>
            </a:extLst>
          </p:cNvPr>
          <p:cNvSpPr/>
          <p:nvPr/>
        </p:nvSpPr>
        <p:spPr>
          <a:xfrm>
            <a:off x="7844359" y="3198218"/>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27" name="Freeform: Shape 26">
            <a:extLst>
              <a:ext uri="{FF2B5EF4-FFF2-40B4-BE49-F238E27FC236}">
                <a16:creationId xmlns:a16="http://schemas.microsoft.com/office/drawing/2014/main" id="{6098D7D8-7E0F-47C1-1FDF-613F7D3951C0}"/>
              </a:ext>
            </a:extLst>
          </p:cNvPr>
          <p:cNvSpPr/>
          <p:nvPr/>
        </p:nvSpPr>
        <p:spPr>
          <a:xfrm>
            <a:off x="7695113" y="304675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nvGrpSpPr>
          <p:cNvPr id="32" name="Group 31">
            <a:extLst>
              <a:ext uri="{FF2B5EF4-FFF2-40B4-BE49-F238E27FC236}">
                <a16:creationId xmlns:a16="http://schemas.microsoft.com/office/drawing/2014/main" id="{7B6AC26A-7038-1420-D598-504F556541E3}"/>
              </a:ext>
            </a:extLst>
          </p:cNvPr>
          <p:cNvGrpSpPr/>
          <p:nvPr/>
        </p:nvGrpSpPr>
        <p:grpSpPr>
          <a:xfrm>
            <a:off x="7680588" y="696778"/>
            <a:ext cx="787602" cy="787595"/>
            <a:chOff x="898160" y="2137370"/>
            <a:chExt cx="787602" cy="787595"/>
          </a:xfrm>
        </p:grpSpPr>
        <p:sp>
          <p:nvSpPr>
            <p:cNvPr id="29" name="Freeform: Shape 28">
              <a:extLst>
                <a:ext uri="{FF2B5EF4-FFF2-40B4-BE49-F238E27FC236}">
                  <a16:creationId xmlns:a16="http://schemas.microsoft.com/office/drawing/2014/main" id="{43203101-5174-8FA2-4056-4E447B38757A}"/>
                </a:ext>
              </a:extLst>
            </p:cNvPr>
            <p:cNvSpPr/>
            <p:nvPr/>
          </p:nvSpPr>
          <p:spPr>
            <a:xfrm>
              <a:off x="1047406" y="2286609"/>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31" name="Freeform: Shape 30">
              <a:extLst>
                <a:ext uri="{FF2B5EF4-FFF2-40B4-BE49-F238E27FC236}">
                  <a16:creationId xmlns:a16="http://schemas.microsoft.com/office/drawing/2014/main" id="{CDF360CA-1D40-46D0-A524-15EDBBC07BC3}"/>
                </a:ext>
              </a:extLst>
            </p:cNvPr>
            <p:cNvSpPr/>
            <p:nvPr/>
          </p:nvSpPr>
          <p:spPr>
            <a:xfrm>
              <a:off x="898160" y="213737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grpSp>
        <p:nvGrpSpPr>
          <p:cNvPr id="33" name="Group 32">
            <a:extLst>
              <a:ext uri="{FF2B5EF4-FFF2-40B4-BE49-F238E27FC236}">
                <a16:creationId xmlns:a16="http://schemas.microsoft.com/office/drawing/2014/main" id="{A83B79E3-4A86-F343-FCA7-EF8BE927A2E3}"/>
              </a:ext>
            </a:extLst>
          </p:cNvPr>
          <p:cNvGrpSpPr/>
          <p:nvPr/>
        </p:nvGrpSpPr>
        <p:grpSpPr>
          <a:xfrm>
            <a:off x="993432" y="4389756"/>
            <a:ext cx="787602" cy="787595"/>
            <a:chOff x="898160" y="2137370"/>
            <a:chExt cx="787602" cy="787595"/>
          </a:xfrm>
        </p:grpSpPr>
        <p:sp>
          <p:nvSpPr>
            <p:cNvPr id="35" name="Freeform: Shape 34">
              <a:extLst>
                <a:ext uri="{FF2B5EF4-FFF2-40B4-BE49-F238E27FC236}">
                  <a16:creationId xmlns:a16="http://schemas.microsoft.com/office/drawing/2014/main" id="{AD885770-2C80-6E6B-9C20-2C7E178D5F55}"/>
                </a:ext>
              </a:extLst>
            </p:cNvPr>
            <p:cNvSpPr/>
            <p:nvPr/>
          </p:nvSpPr>
          <p:spPr>
            <a:xfrm>
              <a:off x="1047406" y="2286609"/>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36" name="Freeform: Shape 35">
              <a:extLst>
                <a:ext uri="{FF2B5EF4-FFF2-40B4-BE49-F238E27FC236}">
                  <a16:creationId xmlns:a16="http://schemas.microsoft.com/office/drawing/2014/main" id="{EF008FE6-4903-630F-54E2-EDACE3A3BF86}"/>
                </a:ext>
              </a:extLst>
            </p:cNvPr>
            <p:cNvSpPr/>
            <p:nvPr/>
          </p:nvSpPr>
          <p:spPr>
            <a:xfrm>
              <a:off x="898160" y="2137370"/>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grpSp>
      <p:sp>
        <p:nvSpPr>
          <p:cNvPr id="4" name="TextBox 3">
            <a:extLst>
              <a:ext uri="{FF2B5EF4-FFF2-40B4-BE49-F238E27FC236}">
                <a16:creationId xmlns:a16="http://schemas.microsoft.com/office/drawing/2014/main" id="{F95B3E67-3FF1-C82A-CB7E-1158E3DBC74F}"/>
              </a:ext>
            </a:extLst>
          </p:cNvPr>
          <p:cNvSpPr txBox="1"/>
          <p:nvPr/>
        </p:nvSpPr>
        <p:spPr>
          <a:xfrm>
            <a:off x="76057" y="6339397"/>
            <a:ext cx="1279420" cy="415498"/>
          </a:xfrm>
          <a:prstGeom prst="rect">
            <a:avLst/>
          </a:prstGeom>
          <a:noFill/>
        </p:spPr>
        <p:txBody>
          <a:bodyPr wrap="square" rtlCol="0">
            <a:spAutoFit/>
          </a:bodyPr>
          <a:lstStyle/>
          <a:p>
            <a:r>
              <a:rPr lang="en-US" sz="700" noProof="0" dirty="0">
                <a:solidFill>
                  <a:schemeClr val="accent1"/>
                </a:solidFill>
                <a:latin typeface="Ellab Sans SemiBold" panose="02000503000000020004" pitchFamily="2" charset="0"/>
                <a:ea typeface="Ellab Sans SemiBold" panose="02000503000000020004" pitchFamily="2" charset="0"/>
                <a:cs typeface="Ellab Sans SemiBold" panose="02000503000000020004" pitchFamily="2" charset="0"/>
              </a:rPr>
              <a:t>Your Life Science</a:t>
            </a:r>
          </a:p>
          <a:p>
            <a:r>
              <a:rPr lang="en-US" sz="700" noProof="0" dirty="0">
                <a:solidFill>
                  <a:schemeClr val="accent1"/>
                </a:solidFill>
                <a:latin typeface="Ellab Sans SemiBold" panose="02000503000000020004" pitchFamily="2" charset="0"/>
                <a:ea typeface="Ellab Sans SemiBold" panose="02000503000000020004" pitchFamily="2" charset="0"/>
                <a:cs typeface="Ellab Sans SemiBold" panose="02000503000000020004" pitchFamily="2" charset="0"/>
              </a:rPr>
              <a:t>Compliance</a:t>
            </a:r>
          </a:p>
          <a:p>
            <a:r>
              <a:rPr lang="en-US" sz="700" noProof="0" dirty="0">
                <a:solidFill>
                  <a:schemeClr val="bg2"/>
                </a:solidFill>
                <a:latin typeface="Ellab Sans SemiBold" panose="02000503000000020004" pitchFamily="2" charset="0"/>
                <a:ea typeface="Ellab Sans SemiBold" panose="02000503000000020004" pitchFamily="2" charset="0"/>
                <a:cs typeface="Ellab Sans SemiBold" panose="02000503000000020004" pitchFamily="2" charset="0"/>
              </a:rPr>
              <a:t>Partner</a:t>
            </a:r>
          </a:p>
        </p:txBody>
      </p:sp>
      <p:sp>
        <p:nvSpPr>
          <p:cNvPr id="7" name="Rectangle: Rounded Corners 6">
            <a:extLst>
              <a:ext uri="{FF2B5EF4-FFF2-40B4-BE49-F238E27FC236}">
                <a16:creationId xmlns:a16="http://schemas.microsoft.com/office/drawing/2014/main" id="{B09E0CE8-4DD3-B6FE-287E-717BAFEDC451}"/>
              </a:ext>
            </a:extLst>
          </p:cNvPr>
          <p:cNvSpPr/>
          <p:nvPr/>
        </p:nvSpPr>
        <p:spPr>
          <a:xfrm>
            <a:off x="7200929" y="4746485"/>
            <a:ext cx="4531679" cy="1699735"/>
          </a:xfrm>
          <a:prstGeom prst="roundRect">
            <a:avLst>
              <a:gd name="adj" fmla="val 4392"/>
            </a:avLst>
          </a:prstGeom>
          <a:gradFill>
            <a:gsLst>
              <a:gs pos="0">
                <a:schemeClr val="accent1">
                  <a:lumMod val="5000"/>
                  <a:lumOff val="95000"/>
                  <a:alpha val="0"/>
                </a:schemeClr>
              </a:gs>
              <a:gs pos="100000">
                <a:schemeClr val="accent1">
                  <a:alpha val="49000"/>
                </a:schemeClr>
              </a:gs>
            </a:gsLst>
            <a:lin ang="2700000" scaled="0"/>
          </a:gradFill>
          <a:ln w="12700">
            <a:gradFill>
              <a:gsLst>
                <a:gs pos="32000">
                  <a:schemeClr val="accent1">
                    <a:lumMod val="5000"/>
                    <a:lumOff val="95000"/>
                    <a:alpha val="0"/>
                  </a:schemeClr>
                </a:gs>
                <a:gs pos="100000">
                  <a:schemeClr val="accent1"/>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noProof="0" dirty="0"/>
          </a:p>
        </p:txBody>
      </p:sp>
      <p:sp>
        <p:nvSpPr>
          <p:cNvPr id="8" name="Title 5">
            <a:extLst>
              <a:ext uri="{FF2B5EF4-FFF2-40B4-BE49-F238E27FC236}">
                <a16:creationId xmlns:a16="http://schemas.microsoft.com/office/drawing/2014/main" id="{D78B0148-777D-B35E-50C3-ADFA4292547A}"/>
              </a:ext>
            </a:extLst>
          </p:cNvPr>
          <p:cNvSpPr txBox="1">
            <a:spLocks/>
          </p:cNvSpPr>
          <p:nvPr/>
        </p:nvSpPr>
        <p:spPr bwMode="auto">
          <a:xfrm>
            <a:off x="7348723" y="5767992"/>
            <a:ext cx="1451332" cy="967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3800"/>
              </a:lnSpc>
              <a:spcBef>
                <a:spcPct val="0"/>
              </a:spcBef>
              <a:spcAft>
                <a:spcPct val="0"/>
              </a:spcAft>
              <a:defRPr sz="3600" b="1" kern="1200">
                <a:solidFill>
                  <a:schemeClr val="tx2"/>
                </a:solidFill>
                <a:latin typeface="+mj-lt"/>
                <a:ea typeface="Ellab Sans" panose="02000503000000020004" pitchFamily="2" charset="0"/>
                <a:cs typeface="Ellab Sans" panose="02000503000000020004" pitchFamily="2" charset="0"/>
              </a:defRPr>
            </a:lvl1pPr>
            <a:lvl2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2pPr>
            <a:lvl3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3pPr>
            <a:lvl4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4pPr>
            <a:lvl5pPr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5pPr>
            <a:lvl6pPr marL="4572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6pPr>
            <a:lvl7pPr marL="9144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7pPr>
            <a:lvl8pPr marL="13716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8pPr>
            <a:lvl9pPr marL="1828800" algn="l" rtl="0" eaLnBrk="1" fontAlgn="base" hangingPunct="1">
              <a:lnSpc>
                <a:spcPts val="5000"/>
              </a:lnSpc>
              <a:spcBef>
                <a:spcPct val="0"/>
              </a:spcBef>
              <a:spcAft>
                <a:spcPct val="0"/>
              </a:spcAft>
              <a:defRPr sz="5000" b="1">
                <a:solidFill>
                  <a:schemeClr val="tx2"/>
                </a:solidFill>
                <a:latin typeface="Ellab Sans" panose="02000503000000020004" pitchFamily="2" charset="0"/>
                <a:ea typeface="Ellab Sans" panose="02000503000000020004" pitchFamily="2" charset="0"/>
                <a:cs typeface="Ellab Sans" panose="02000503000000020004" pitchFamily="2" charset="0"/>
              </a:defRPr>
            </a:lvl9pPr>
          </a:lstStyle>
          <a:p>
            <a:pPr algn="ctr">
              <a:lnSpc>
                <a:spcPct val="100000"/>
              </a:lnSpc>
            </a:pPr>
            <a:r>
              <a:rPr lang="en-US" sz="1400" noProof="0" dirty="0">
                <a:solidFill>
                  <a:schemeClr val="accent1"/>
                </a:solidFill>
                <a:ea typeface="Ellab Sans"/>
              </a:rPr>
              <a:t>And numerous reports for data analysis</a:t>
            </a:r>
          </a:p>
        </p:txBody>
      </p:sp>
      <p:sp>
        <p:nvSpPr>
          <p:cNvPr id="9" name="TextBox 8">
            <a:extLst>
              <a:ext uri="{FF2B5EF4-FFF2-40B4-BE49-F238E27FC236}">
                <a16:creationId xmlns:a16="http://schemas.microsoft.com/office/drawing/2014/main" id="{F1E82058-408A-6945-358E-0642D63D0086}"/>
              </a:ext>
            </a:extLst>
          </p:cNvPr>
          <p:cNvSpPr txBox="1"/>
          <p:nvPr/>
        </p:nvSpPr>
        <p:spPr>
          <a:xfrm>
            <a:off x="9333420" y="5028112"/>
            <a:ext cx="2240934" cy="415498"/>
          </a:xfrm>
          <a:prstGeom prst="rect">
            <a:avLst/>
          </a:prstGeom>
          <a:noFill/>
        </p:spPr>
        <p:txBody>
          <a:bodyPr wrap="square" lIns="91440" tIns="45720" rIns="91440" bIns="45720" rtlCol="0" anchor="t">
            <a:spAutoFit/>
          </a:bodyPr>
          <a:lstStyle/>
          <a:p>
            <a:pPr marL="171450" indent="-171450">
              <a:spcBef>
                <a:spcPts val="600"/>
              </a:spcBef>
              <a:buClr>
                <a:schemeClr val="accent1"/>
              </a:buClr>
              <a:buFont typeface="Arial" panose="020B0604020202020204" pitchFamily="34" charset="0"/>
              <a:buChar char="•"/>
            </a:pPr>
            <a:r>
              <a:rPr lang="en-US" sz="1050" noProof="0" dirty="0">
                <a:solidFill>
                  <a:schemeClr val="bg2"/>
                </a:solidFill>
                <a:latin typeface="+mj-lt"/>
              </a:rPr>
              <a:t>More than 30 different analytic tools and reports</a:t>
            </a:r>
          </a:p>
        </p:txBody>
      </p:sp>
      <p:sp>
        <p:nvSpPr>
          <p:cNvPr id="11" name="Freeform: Shape 10">
            <a:extLst>
              <a:ext uri="{FF2B5EF4-FFF2-40B4-BE49-F238E27FC236}">
                <a16:creationId xmlns:a16="http://schemas.microsoft.com/office/drawing/2014/main" id="{CDD1AA5A-30F9-2C6C-A9B6-4A1EE5A730BB}"/>
              </a:ext>
            </a:extLst>
          </p:cNvPr>
          <p:cNvSpPr/>
          <p:nvPr/>
        </p:nvSpPr>
        <p:spPr>
          <a:xfrm>
            <a:off x="7853412" y="5036217"/>
            <a:ext cx="489117" cy="489117"/>
          </a:xfrm>
          <a:custGeom>
            <a:avLst/>
            <a:gdLst>
              <a:gd name="connsiteX0" fmla="*/ 244559 w 489117"/>
              <a:gd name="connsiteY0" fmla="*/ 0 h 489117"/>
              <a:gd name="connsiteX1" fmla="*/ 0 w 489117"/>
              <a:gd name="connsiteY1" fmla="*/ 244559 h 489117"/>
              <a:gd name="connsiteX2" fmla="*/ 244559 w 489117"/>
              <a:gd name="connsiteY2" fmla="*/ 489118 h 489117"/>
              <a:gd name="connsiteX3" fmla="*/ 489118 w 489117"/>
              <a:gd name="connsiteY3" fmla="*/ 244559 h 489117"/>
              <a:gd name="connsiteX4" fmla="*/ 244559 w 489117"/>
              <a:gd name="connsiteY4" fmla="*/ 0 h 489117"/>
              <a:gd name="connsiteX5" fmla="*/ 209789 w 489117"/>
              <a:gd name="connsiteY5" fmla="*/ 344126 h 489117"/>
              <a:gd name="connsiteX6" fmla="*/ 103214 w 489117"/>
              <a:gd name="connsiteY6" fmla="*/ 237541 h 489117"/>
              <a:gd name="connsiteX7" fmla="*/ 139430 w 489117"/>
              <a:gd name="connsiteY7" fmla="*/ 201325 h 489117"/>
              <a:gd name="connsiteX8" fmla="*/ 209789 w 489117"/>
              <a:gd name="connsiteY8" fmla="*/ 271684 h 489117"/>
              <a:gd name="connsiteX9" fmla="*/ 353887 w 489117"/>
              <a:gd name="connsiteY9" fmla="*/ 127596 h 489117"/>
              <a:gd name="connsiteX10" fmla="*/ 390103 w 489117"/>
              <a:gd name="connsiteY10" fmla="*/ 163812 h 4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17" h="489117">
                <a:moveTo>
                  <a:pt x="244559" y="0"/>
                </a:moveTo>
                <a:cubicBezTo>
                  <a:pt x="109493" y="0"/>
                  <a:pt x="0" y="109493"/>
                  <a:pt x="0" y="244559"/>
                </a:cubicBezTo>
                <a:cubicBezTo>
                  <a:pt x="0" y="379624"/>
                  <a:pt x="109493" y="489118"/>
                  <a:pt x="244559" y="489118"/>
                </a:cubicBezTo>
                <a:cubicBezTo>
                  <a:pt x="379625" y="489118"/>
                  <a:pt x="489118" y="379624"/>
                  <a:pt x="489118" y="244559"/>
                </a:cubicBezTo>
                <a:cubicBezTo>
                  <a:pt x="488965" y="109556"/>
                  <a:pt x="379562" y="152"/>
                  <a:pt x="244559" y="0"/>
                </a:cubicBezTo>
                <a:close/>
                <a:moveTo>
                  <a:pt x="209789" y="344126"/>
                </a:moveTo>
                <a:lnTo>
                  <a:pt x="103214" y="237541"/>
                </a:lnTo>
                <a:lnTo>
                  <a:pt x="139430" y="201325"/>
                </a:lnTo>
                <a:lnTo>
                  <a:pt x="209789" y="271684"/>
                </a:lnTo>
                <a:lnTo>
                  <a:pt x="353887" y="127596"/>
                </a:lnTo>
                <a:lnTo>
                  <a:pt x="390103" y="163812"/>
                </a:lnTo>
                <a:close/>
              </a:path>
            </a:pathLst>
          </a:custGeom>
          <a:solidFill>
            <a:schemeClr val="accent1"/>
          </a:solidFill>
          <a:ln w="10616" cap="flat">
            <a:noFill/>
            <a:prstDash val="solid"/>
            <a:miter/>
          </a:ln>
        </p:spPr>
        <p:txBody>
          <a:bodyPr rtlCol="0" anchor="ctr"/>
          <a:lstStyle/>
          <a:p>
            <a:endParaRPr lang="en-US" noProof="0" dirty="0">
              <a:latin typeface="Ellab Sans" panose="02000503000000020004" pitchFamily="2" charset="0"/>
            </a:endParaRPr>
          </a:p>
        </p:txBody>
      </p:sp>
      <p:sp>
        <p:nvSpPr>
          <p:cNvPr id="12" name="Freeform: Shape 11">
            <a:extLst>
              <a:ext uri="{FF2B5EF4-FFF2-40B4-BE49-F238E27FC236}">
                <a16:creationId xmlns:a16="http://schemas.microsoft.com/office/drawing/2014/main" id="{708C7C4E-919B-3EBB-C679-277876B61447}"/>
              </a:ext>
            </a:extLst>
          </p:cNvPr>
          <p:cNvSpPr/>
          <p:nvPr/>
        </p:nvSpPr>
        <p:spPr>
          <a:xfrm>
            <a:off x="7695113" y="4884749"/>
            <a:ext cx="787602" cy="787595"/>
          </a:xfrm>
          <a:custGeom>
            <a:avLst/>
            <a:gdLst>
              <a:gd name="connsiteX0" fmla="*/ 756602 w 787602"/>
              <a:gd name="connsiteY0" fmla="*/ 407249 h 787595"/>
              <a:gd name="connsiteX1" fmla="*/ 756602 w 787602"/>
              <a:gd name="connsiteY1" fmla="*/ 380347 h 787595"/>
              <a:gd name="connsiteX2" fmla="*/ 782802 w 787602"/>
              <a:gd name="connsiteY2" fmla="*/ 348246 h 787595"/>
              <a:gd name="connsiteX3" fmla="*/ 779790 w 787602"/>
              <a:gd name="connsiteY3" fmla="*/ 318323 h 787595"/>
              <a:gd name="connsiteX4" fmla="*/ 777847 w 787602"/>
              <a:gd name="connsiteY4" fmla="*/ 316911 h 787595"/>
              <a:gd name="connsiteX5" fmla="*/ 743003 w 787602"/>
              <a:gd name="connsiteY5" fmla="*/ 294475 h 787595"/>
              <a:gd name="connsiteX6" fmla="*/ 734688 w 787602"/>
              <a:gd name="connsiteY6" fmla="*/ 268903 h 787595"/>
              <a:gd name="connsiteX7" fmla="*/ 749691 w 787602"/>
              <a:gd name="connsiteY7" fmla="*/ 230263 h 787595"/>
              <a:gd name="connsiteX8" fmla="*/ 737568 w 787602"/>
              <a:gd name="connsiteY8" fmla="*/ 202739 h 787595"/>
              <a:gd name="connsiteX9" fmla="*/ 735294 w 787602"/>
              <a:gd name="connsiteY9" fmla="*/ 202000 h 787595"/>
              <a:gd name="connsiteX10" fmla="*/ 695218 w 787602"/>
              <a:gd name="connsiteY10" fmla="*/ 191431 h 787595"/>
              <a:gd name="connsiteX11" fmla="*/ 679407 w 787602"/>
              <a:gd name="connsiteY11" fmla="*/ 169676 h 787595"/>
              <a:gd name="connsiteX12" fmla="*/ 681736 w 787602"/>
              <a:gd name="connsiteY12" fmla="*/ 128292 h 787595"/>
              <a:gd name="connsiteX13" fmla="*/ 661696 w 787602"/>
              <a:gd name="connsiteY13" fmla="*/ 105867 h 787595"/>
              <a:gd name="connsiteX14" fmla="*/ 659311 w 787602"/>
              <a:gd name="connsiteY14" fmla="*/ 105867 h 787595"/>
              <a:gd name="connsiteX15" fmla="*/ 617927 w 787602"/>
              <a:gd name="connsiteY15" fmla="*/ 108196 h 787595"/>
              <a:gd name="connsiteX16" fmla="*/ 596172 w 787602"/>
              <a:gd name="connsiteY16" fmla="*/ 92385 h 787595"/>
              <a:gd name="connsiteX17" fmla="*/ 585603 w 787602"/>
              <a:gd name="connsiteY17" fmla="*/ 52309 h 787595"/>
              <a:gd name="connsiteX18" fmla="*/ 559615 w 787602"/>
              <a:gd name="connsiteY18" fmla="*/ 37173 h 787595"/>
              <a:gd name="connsiteX19" fmla="*/ 557340 w 787602"/>
              <a:gd name="connsiteY19" fmla="*/ 37912 h 787595"/>
              <a:gd name="connsiteX20" fmla="*/ 518700 w 787602"/>
              <a:gd name="connsiteY20" fmla="*/ 52915 h 787595"/>
              <a:gd name="connsiteX21" fmla="*/ 493128 w 787602"/>
              <a:gd name="connsiteY21" fmla="*/ 44600 h 787595"/>
              <a:gd name="connsiteX22" fmla="*/ 470692 w 787602"/>
              <a:gd name="connsiteY22" fmla="*/ 9756 h 787595"/>
              <a:gd name="connsiteX23" fmla="*/ 441299 w 787602"/>
              <a:gd name="connsiteY23" fmla="*/ 3389 h 787595"/>
              <a:gd name="connsiteX24" fmla="*/ 439357 w 787602"/>
              <a:gd name="connsiteY24" fmla="*/ 4801 h 787595"/>
              <a:gd name="connsiteX25" fmla="*/ 407256 w 787602"/>
              <a:gd name="connsiteY25" fmla="*/ 31000 h 787595"/>
              <a:gd name="connsiteX26" fmla="*/ 380354 w 787602"/>
              <a:gd name="connsiteY26" fmla="*/ 31000 h 787595"/>
              <a:gd name="connsiteX27" fmla="*/ 348253 w 787602"/>
              <a:gd name="connsiteY27" fmla="*/ 4801 h 787595"/>
              <a:gd name="connsiteX28" fmla="*/ 318330 w 787602"/>
              <a:gd name="connsiteY28" fmla="*/ 7813 h 787595"/>
              <a:gd name="connsiteX29" fmla="*/ 316918 w 787602"/>
              <a:gd name="connsiteY29" fmla="*/ 9756 h 787595"/>
              <a:gd name="connsiteX30" fmla="*/ 294482 w 787602"/>
              <a:gd name="connsiteY30" fmla="*/ 44600 h 787595"/>
              <a:gd name="connsiteX31" fmla="*/ 268910 w 787602"/>
              <a:gd name="connsiteY31" fmla="*/ 52915 h 787595"/>
              <a:gd name="connsiteX32" fmla="*/ 230269 w 787602"/>
              <a:gd name="connsiteY32" fmla="*/ 37912 h 787595"/>
              <a:gd name="connsiteX33" fmla="*/ 202746 w 787602"/>
              <a:gd name="connsiteY33" fmla="*/ 50034 h 787595"/>
              <a:gd name="connsiteX34" fmla="*/ 202007 w 787602"/>
              <a:gd name="connsiteY34" fmla="*/ 52309 h 787595"/>
              <a:gd name="connsiteX35" fmla="*/ 191438 w 787602"/>
              <a:gd name="connsiteY35" fmla="*/ 92385 h 787595"/>
              <a:gd name="connsiteX36" fmla="*/ 169683 w 787602"/>
              <a:gd name="connsiteY36" fmla="*/ 108196 h 787595"/>
              <a:gd name="connsiteX37" fmla="*/ 128299 w 787602"/>
              <a:gd name="connsiteY37" fmla="*/ 105867 h 787595"/>
              <a:gd name="connsiteX38" fmla="*/ 105874 w 787602"/>
              <a:gd name="connsiteY38" fmla="*/ 125907 h 787595"/>
              <a:gd name="connsiteX39" fmla="*/ 105874 w 787602"/>
              <a:gd name="connsiteY39" fmla="*/ 128292 h 787595"/>
              <a:gd name="connsiteX40" fmla="*/ 108203 w 787602"/>
              <a:gd name="connsiteY40" fmla="*/ 169676 h 787595"/>
              <a:gd name="connsiteX41" fmla="*/ 92392 w 787602"/>
              <a:gd name="connsiteY41" fmla="*/ 191431 h 787595"/>
              <a:gd name="connsiteX42" fmla="*/ 52316 w 787602"/>
              <a:gd name="connsiteY42" fmla="*/ 202000 h 787595"/>
              <a:gd name="connsiteX43" fmla="*/ 37180 w 787602"/>
              <a:gd name="connsiteY43" fmla="*/ 227988 h 787595"/>
              <a:gd name="connsiteX44" fmla="*/ 37919 w 787602"/>
              <a:gd name="connsiteY44" fmla="*/ 230263 h 787595"/>
              <a:gd name="connsiteX45" fmla="*/ 52922 w 787602"/>
              <a:gd name="connsiteY45" fmla="*/ 268903 h 787595"/>
              <a:gd name="connsiteX46" fmla="*/ 44607 w 787602"/>
              <a:gd name="connsiteY46" fmla="*/ 294475 h 787595"/>
              <a:gd name="connsiteX47" fmla="*/ 9763 w 787602"/>
              <a:gd name="connsiteY47" fmla="*/ 316911 h 787595"/>
              <a:gd name="connsiteX48" fmla="*/ 3384 w 787602"/>
              <a:gd name="connsiteY48" fmla="*/ 346301 h 787595"/>
              <a:gd name="connsiteX49" fmla="*/ 4797 w 787602"/>
              <a:gd name="connsiteY49" fmla="*/ 348246 h 787595"/>
              <a:gd name="connsiteX50" fmla="*/ 31007 w 787602"/>
              <a:gd name="connsiteY50" fmla="*/ 380347 h 787595"/>
              <a:gd name="connsiteX51" fmla="*/ 31007 w 787602"/>
              <a:gd name="connsiteY51" fmla="*/ 407249 h 787595"/>
              <a:gd name="connsiteX52" fmla="*/ 4797 w 787602"/>
              <a:gd name="connsiteY52" fmla="*/ 439350 h 787595"/>
              <a:gd name="connsiteX53" fmla="*/ 7818 w 787602"/>
              <a:gd name="connsiteY53" fmla="*/ 469272 h 787595"/>
              <a:gd name="connsiteX54" fmla="*/ 9763 w 787602"/>
              <a:gd name="connsiteY54" fmla="*/ 470685 h 787595"/>
              <a:gd name="connsiteX55" fmla="*/ 44607 w 787602"/>
              <a:gd name="connsiteY55" fmla="*/ 493121 h 787595"/>
              <a:gd name="connsiteX56" fmla="*/ 52922 w 787602"/>
              <a:gd name="connsiteY56" fmla="*/ 518693 h 787595"/>
              <a:gd name="connsiteX57" fmla="*/ 37919 w 787602"/>
              <a:gd name="connsiteY57" fmla="*/ 557333 h 787595"/>
              <a:gd name="connsiteX58" fmla="*/ 50041 w 787602"/>
              <a:gd name="connsiteY58" fmla="*/ 584857 h 787595"/>
              <a:gd name="connsiteX59" fmla="*/ 52316 w 787602"/>
              <a:gd name="connsiteY59" fmla="*/ 585596 h 787595"/>
              <a:gd name="connsiteX60" fmla="*/ 92392 w 787602"/>
              <a:gd name="connsiteY60" fmla="*/ 596165 h 787595"/>
              <a:gd name="connsiteX61" fmla="*/ 108203 w 787602"/>
              <a:gd name="connsiteY61" fmla="*/ 617920 h 787595"/>
              <a:gd name="connsiteX62" fmla="*/ 105874 w 787602"/>
              <a:gd name="connsiteY62" fmla="*/ 659304 h 787595"/>
              <a:gd name="connsiteX63" fmla="*/ 125914 w 787602"/>
              <a:gd name="connsiteY63" fmla="*/ 681729 h 787595"/>
              <a:gd name="connsiteX64" fmla="*/ 128299 w 787602"/>
              <a:gd name="connsiteY64" fmla="*/ 681729 h 787595"/>
              <a:gd name="connsiteX65" fmla="*/ 169683 w 787602"/>
              <a:gd name="connsiteY65" fmla="*/ 679400 h 787595"/>
              <a:gd name="connsiteX66" fmla="*/ 191438 w 787602"/>
              <a:gd name="connsiteY66" fmla="*/ 695211 h 787595"/>
              <a:gd name="connsiteX67" fmla="*/ 202007 w 787602"/>
              <a:gd name="connsiteY67" fmla="*/ 735287 h 787595"/>
              <a:gd name="connsiteX68" fmla="*/ 227995 w 787602"/>
              <a:gd name="connsiteY68" fmla="*/ 750423 h 787595"/>
              <a:gd name="connsiteX69" fmla="*/ 230269 w 787602"/>
              <a:gd name="connsiteY69" fmla="*/ 749684 h 787595"/>
              <a:gd name="connsiteX70" fmla="*/ 268910 w 787602"/>
              <a:gd name="connsiteY70" fmla="*/ 734681 h 787595"/>
              <a:gd name="connsiteX71" fmla="*/ 294482 w 787602"/>
              <a:gd name="connsiteY71" fmla="*/ 742996 h 787595"/>
              <a:gd name="connsiteX72" fmla="*/ 316918 w 787602"/>
              <a:gd name="connsiteY72" fmla="*/ 777840 h 787595"/>
              <a:gd name="connsiteX73" fmla="*/ 346310 w 787602"/>
              <a:gd name="connsiteY73" fmla="*/ 784207 h 787595"/>
              <a:gd name="connsiteX74" fmla="*/ 348253 w 787602"/>
              <a:gd name="connsiteY74" fmla="*/ 782795 h 787595"/>
              <a:gd name="connsiteX75" fmla="*/ 380354 w 787602"/>
              <a:gd name="connsiteY75" fmla="*/ 756596 h 787595"/>
              <a:gd name="connsiteX76" fmla="*/ 407256 w 787602"/>
              <a:gd name="connsiteY76" fmla="*/ 756596 h 787595"/>
              <a:gd name="connsiteX77" fmla="*/ 439357 w 787602"/>
              <a:gd name="connsiteY77" fmla="*/ 782795 h 787595"/>
              <a:gd name="connsiteX78" fmla="*/ 469280 w 787602"/>
              <a:gd name="connsiteY78" fmla="*/ 779783 h 787595"/>
              <a:gd name="connsiteX79" fmla="*/ 470692 w 787602"/>
              <a:gd name="connsiteY79" fmla="*/ 777840 h 787595"/>
              <a:gd name="connsiteX80" fmla="*/ 493128 w 787602"/>
              <a:gd name="connsiteY80" fmla="*/ 742996 h 787595"/>
              <a:gd name="connsiteX81" fmla="*/ 518700 w 787602"/>
              <a:gd name="connsiteY81" fmla="*/ 734681 h 787595"/>
              <a:gd name="connsiteX82" fmla="*/ 557340 w 787602"/>
              <a:gd name="connsiteY82" fmla="*/ 749684 h 787595"/>
              <a:gd name="connsiteX83" fmla="*/ 584864 w 787602"/>
              <a:gd name="connsiteY83" fmla="*/ 737562 h 787595"/>
              <a:gd name="connsiteX84" fmla="*/ 585603 w 787602"/>
              <a:gd name="connsiteY84" fmla="*/ 735287 h 787595"/>
              <a:gd name="connsiteX85" fmla="*/ 596172 w 787602"/>
              <a:gd name="connsiteY85" fmla="*/ 695211 h 787595"/>
              <a:gd name="connsiteX86" fmla="*/ 617927 w 787602"/>
              <a:gd name="connsiteY86" fmla="*/ 679400 h 787595"/>
              <a:gd name="connsiteX87" fmla="*/ 659311 w 787602"/>
              <a:gd name="connsiteY87" fmla="*/ 681729 h 787595"/>
              <a:gd name="connsiteX88" fmla="*/ 681736 w 787602"/>
              <a:gd name="connsiteY88" fmla="*/ 661689 h 787595"/>
              <a:gd name="connsiteX89" fmla="*/ 681736 w 787602"/>
              <a:gd name="connsiteY89" fmla="*/ 659304 h 787595"/>
              <a:gd name="connsiteX90" fmla="*/ 679407 w 787602"/>
              <a:gd name="connsiteY90" fmla="*/ 617920 h 787595"/>
              <a:gd name="connsiteX91" fmla="*/ 695218 w 787602"/>
              <a:gd name="connsiteY91" fmla="*/ 596165 h 787595"/>
              <a:gd name="connsiteX92" fmla="*/ 735294 w 787602"/>
              <a:gd name="connsiteY92" fmla="*/ 585596 h 787595"/>
              <a:gd name="connsiteX93" fmla="*/ 750430 w 787602"/>
              <a:gd name="connsiteY93" fmla="*/ 559608 h 787595"/>
              <a:gd name="connsiteX94" fmla="*/ 749691 w 787602"/>
              <a:gd name="connsiteY94" fmla="*/ 557333 h 787595"/>
              <a:gd name="connsiteX95" fmla="*/ 734688 w 787602"/>
              <a:gd name="connsiteY95" fmla="*/ 518693 h 787595"/>
              <a:gd name="connsiteX96" fmla="*/ 743003 w 787602"/>
              <a:gd name="connsiteY96" fmla="*/ 493121 h 787595"/>
              <a:gd name="connsiteX97" fmla="*/ 777847 w 787602"/>
              <a:gd name="connsiteY97" fmla="*/ 470685 h 787595"/>
              <a:gd name="connsiteX98" fmla="*/ 784214 w 787602"/>
              <a:gd name="connsiteY98" fmla="*/ 441292 h 787595"/>
              <a:gd name="connsiteX99" fmla="*/ 782802 w 787602"/>
              <a:gd name="connsiteY99" fmla="*/ 439350 h 787595"/>
              <a:gd name="connsiteX100" fmla="*/ 393805 w 787602"/>
              <a:gd name="connsiteY100" fmla="*/ 670256 h 787595"/>
              <a:gd name="connsiteX101" fmla="*/ 117347 w 787602"/>
              <a:gd name="connsiteY101" fmla="*/ 393798 h 787595"/>
              <a:gd name="connsiteX102" fmla="*/ 393805 w 787602"/>
              <a:gd name="connsiteY102" fmla="*/ 117340 h 787595"/>
              <a:gd name="connsiteX103" fmla="*/ 670263 w 787602"/>
              <a:gd name="connsiteY103" fmla="*/ 393798 h 787595"/>
              <a:gd name="connsiteX104" fmla="*/ 393805 w 787602"/>
              <a:gd name="connsiteY104" fmla="*/ 670256 h 78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7602" h="787595">
                <a:moveTo>
                  <a:pt x="756602" y="407249"/>
                </a:moveTo>
                <a:cubicBezTo>
                  <a:pt x="750210" y="399421"/>
                  <a:pt x="750210" y="388175"/>
                  <a:pt x="756602" y="380347"/>
                </a:cubicBezTo>
                <a:lnTo>
                  <a:pt x="782802" y="348246"/>
                </a:lnTo>
                <a:cubicBezTo>
                  <a:pt x="790234" y="339151"/>
                  <a:pt x="788884" y="325754"/>
                  <a:pt x="779790" y="318323"/>
                </a:cubicBezTo>
                <a:cubicBezTo>
                  <a:pt x="779169" y="317816"/>
                  <a:pt x="778520" y="317345"/>
                  <a:pt x="777847" y="316911"/>
                </a:cubicBezTo>
                <a:lnTo>
                  <a:pt x="743003" y="294475"/>
                </a:lnTo>
                <a:cubicBezTo>
                  <a:pt x="734509" y="289008"/>
                  <a:pt x="731034" y="278319"/>
                  <a:pt x="734688" y="268903"/>
                </a:cubicBezTo>
                <a:lnTo>
                  <a:pt x="749691" y="230263"/>
                </a:lnTo>
                <a:cubicBezTo>
                  <a:pt x="753944" y="219315"/>
                  <a:pt x="748516" y="206992"/>
                  <a:pt x="737568" y="202739"/>
                </a:cubicBezTo>
                <a:cubicBezTo>
                  <a:pt x="736825" y="202451"/>
                  <a:pt x="736066" y="202203"/>
                  <a:pt x="735294" y="202000"/>
                </a:cubicBezTo>
                <a:lnTo>
                  <a:pt x="695218" y="191431"/>
                </a:lnTo>
                <a:cubicBezTo>
                  <a:pt x="685450" y="188856"/>
                  <a:pt x="678841" y="179762"/>
                  <a:pt x="679407" y="169676"/>
                </a:cubicBezTo>
                <a:lnTo>
                  <a:pt x="681736" y="128292"/>
                </a:lnTo>
                <a:cubicBezTo>
                  <a:pt x="682394" y="116566"/>
                  <a:pt x="673422" y="106525"/>
                  <a:pt x="661696" y="105867"/>
                </a:cubicBezTo>
                <a:cubicBezTo>
                  <a:pt x="660901" y="105823"/>
                  <a:pt x="660105" y="105823"/>
                  <a:pt x="659311" y="105867"/>
                </a:cubicBezTo>
                <a:lnTo>
                  <a:pt x="617927" y="108196"/>
                </a:lnTo>
                <a:cubicBezTo>
                  <a:pt x="607841" y="108762"/>
                  <a:pt x="598747" y="102153"/>
                  <a:pt x="596172" y="92385"/>
                </a:cubicBezTo>
                <a:lnTo>
                  <a:pt x="585603" y="52309"/>
                </a:lnTo>
                <a:cubicBezTo>
                  <a:pt x="582606" y="40953"/>
                  <a:pt x="570971" y="34176"/>
                  <a:pt x="559615" y="37173"/>
                </a:cubicBezTo>
                <a:cubicBezTo>
                  <a:pt x="558844" y="37376"/>
                  <a:pt x="558083" y="37623"/>
                  <a:pt x="557340" y="37912"/>
                </a:cubicBezTo>
                <a:lnTo>
                  <a:pt x="518700" y="52915"/>
                </a:lnTo>
                <a:cubicBezTo>
                  <a:pt x="509282" y="56568"/>
                  <a:pt x="498595" y="53093"/>
                  <a:pt x="493128" y="44600"/>
                </a:cubicBezTo>
                <a:lnTo>
                  <a:pt x="470692" y="9756"/>
                </a:lnTo>
                <a:cubicBezTo>
                  <a:pt x="464333" y="-119"/>
                  <a:pt x="451174" y="-2970"/>
                  <a:pt x="441299" y="3389"/>
                </a:cubicBezTo>
                <a:cubicBezTo>
                  <a:pt x="440625" y="3822"/>
                  <a:pt x="439977" y="4293"/>
                  <a:pt x="439357" y="4801"/>
                </a:cubicBezTo>
                <a:lnTo>
                  <a:pt x="407256" y="31000"/>
                </a:lnTo>
                <a:cubicBezTo>
                  <a:pt x="399428" y="37393"/>
                  <a:pt x="388182" y="37393"/>
                  <a:pt x="380354" y="31000"/>
                </a:cubicBezTo>
                <a:lnTo>
                  <a:pt x="348253" y="4801"/>
                </a:lnTo>
                <a:cubicBezTo>
                  <a:pt x="339158" y="-2631"/>
                  <a:pt x="325761" y="-1281"/>
                  <a:pt x="318330" y="7813"/>
                </a:cubicBezTo>
                <a:cubicBezTo>
                  <a:pt x="317823" y="8434"/>
                  <a:pt x="317352" y="9083"/>
                  <a:pt x="316918" y="9756"/>
                </a:cubicBezTo>
                <a:lnTo>
                  <a:pt x="294482" y="44600"/>
                </a:lnTo>
                <a:cubicBezTo>
                  <a:pt x="289015" y="53093"/>
                  <a:pt x="278326" y="56568"/>
                  <a:pt x="268910" y="52915"/>
                </a:cubicBezTo>
                <a:lnTo>
                  <a:pt x="230269" y="37912"/>
                </a:lnTo>
                <a:cubicBezTo>
                  <a:pt x="219322" y="33659"/>
                  <a:pt x="206999" y="39087"/>
                  <a:pt x="202746" y="50034"/>
                </a:cubicBezTo>
                <a:cubicBezTo>
                  <a:pt x="202458" y="50778"/>
                  <a:pt x="202210" y="51537"/>
                  <a:pt x="202007" y="52309"/>
                </a:cubicBezTo>
                <a:lnTo>
                  <a:pt x="191438" y="92385"/>
                </a:lnTo>
                <a:cubicBezTo>
                  <a:pt x="188862" y="102153"/>
                  <a:pt x="179769" y="108762"/>
                  <a:pt x="169683" y="108196"/>
                </a:cubicBezTo>
                <a:lnTo>
                  <a:pt x="128299" y="105867"/>
                </a:lnTo>
                <a:cubicBezTo>
                  <a:pt x="116573" y="105209"/>
                  <a:pt x="106532" y="114181"/>
                  <a:pt x="105874" y="125907"/>
                </a:cubicBezTo>
                <a:cubicBezTo>
                  <a:pt x="105829" y="126702"/>
                  <a:pt x="105829" y="127498"/>
                  <a:pt x="105874" y="128292"/>
                </a:cubicBezTo>
                <a:lnTo>
                  <a:pt x="108203" y="169676"/>
                </a:lnTo>
                <a:cubicBezTo>
                  <a:pt x="108768" y="179762"/>
                  <a:pt x="102160" y="188856"/>
                  <a:pt x="92392" y="191431"/>
                </a:cubicBezTo>
                <a:lnTo>
                  <a:pt x="52316" y="202000"/>
                </a:lnTo>
                <a:cubicBezTo>
                  <a:pt x="40960" y="204996"/>
                  <a:pt x="34183" y="216632"/>
                  <a:pt x="37180" y="227988"/>
                </a:cubicBezTo>
                <a:cubicBezTo>
                  <a:pt x="37383" y="228759"/>
                  <a:pt x="37629" y="229519"/>
                  <a:pt x="37919" y="230263"/>
                </a:cubicBezTo>
                <a:lnTo>
                  <a:pt x="52922" y="268903"/>
                </a:lnTo>
                <a:cubicBezTo>
                  <a:pt x="56575" y="278321"/>
                  <a:pt x="53099" y="289008"/>
                  <a:pt x="44607" y="294475"/>
                </a:cubicBezTo>
                <a:lnTo>
                  <a:pt x="9763" y="316911"/>
                </a:lnTo>
                <a:cubicBezTo>
                  <a:pt x="-114" y="323265"/>
                  <a:pt x="-2970" y="336424"/>
                  <a:pt x="3384" y="346301"/>
                </a:cubicBezTo>
                <a:cubicBezTo>
                  <a:pt x="3818" y="346976"/>
                  <a:pt x="4290" y="347625"/>
                  <a:pt x="4797" y="348246"/>
                </a:cubicBezTo>
                <a:lnTo>
                  <a:pt x="31007" y="380347"/>
                </a:lnTo>
                <a:cubicBezTo>
                  <a:pt x="37400" y="388175"/>
                  <a:pt x="37400" y="399421"/>
                  <a:pt x="31007" y="407249"/>
                </a:cubicBezTo>
                <a:lnTo>
                  <a:pt x="4797" y="439350"/>
                </a:lnTo>
                <a:cubicBezTo>
                  <a:pt x="-2632" y="448446"/>
                  <a:pt x="-1280" y="461844"/>
                  <a:pt x="7818" y="469272"/>
                </a:cubicBezTo>
                <a:cubicBezTo>
                  <a:pt x="8439" y="469779"/>
                  <a:pt x="9088" y="470251"/>
                  <a:pt x="9763" y="470685"/>
                </a:cubicBezTo>
                <a:lnTo>
                  <a:pt x="44607" y="493121"/>
                </a:lnTo>
                <a:cubicBezTo>
                  <a:pt x="53099" y="498588"/>
                  <a:pt x="56575" y="509277"/>
                  <a:pt x="52922" y="518693"/>
                </a:cubicBezTo>
                <a:lnTo>
                  <a:pt x="37919" y="557333"/>
                </a:lnTo>
                <a:cubicBezTo>
                  <a:pt x="33665" y="568281"/>
                  <a:pt x="39094" y="580604"/>
                  <a:pt x="50041" y="584857"/>
                </a:cubicBezTo>
                <a:cubicBezTo>
                  <a:pt x="50785" y="585145"/>
                  <a:pt x="51544" y="585393"/>
                  <a:pt x="52316" y="585596"/>
                </a:cubicBezTo>
                <a:lnTo>
                  <a:pt x="92392" y="596165"/>
                </a:lnTo>
                <a:cubicBezTo>
                  <a:pt x="102160" y="598740"/>
                  <a:pt x="108768" y="607834"/>
                  <a:pt x="108203" y="617920"/>
                </a:cubicBezTo>
                <a:lnTo>
                  <a:pt x="105874" y="659304"/>
                </a:lnTo>
                <a:cubicBezTo>
                  <a:pt x="105216" y="671030"/>
                  <a:pt x="114188" y="681071"/>
                  <a:pt x="125914" y="681729"/>
                </a:cubicBezTo>
                <a:cubicBezTo>
                  <a:pt x="126708" y="681773"/>
                  <a:pt x="127505" y="681773"/>
                  <a:pt x="128299" y="681729"/>
                </a:cubicBezTo>
                <a:lnTo>
                  <a:pt x="169683" y="679400"/>
                </a:lnTo>
                <a:cubicBezTo>
                  <a:pt x="179769" y="678834"/>
                  <a:pt x="188862" y="685443"/>
                  <a:pt x="191438" y="695211"/>
                </a:cubicBezTo>
                <a:lnTo>
                  <a:pt x="202007" y="735287"/>
                </a:lnTo>
                <a:cubicBezTo>
                  <a:pt x="205003" y="746643"/>
                  <a:pt x="216639" y="753419"/>
                  <a:pt x="227995" y="750423"/>
                </a:cubicBezTo>
                <a:cubicBezTo>
                  <a:pt x="228766" y="750220"/>
                  <a:pt x="229526" y="749973"/>
                  <a:pt x="230269" y="749684"/>
                </a:cubicBezTo>
                <a:lnTo>
                  <a:pt x="268910" y="734681"/>
                </a:lnTo>
                <a:cubicBezTo>
                  <a:pt x="278326" y="731028"/>
                  <a:pt x="289015" y="734503"/>
                  <a:pt x="294482" y="742996"/>
                </a:cubicBezTo>
                <a:lnTo>
                  <a:pt x="316918" y="777840"/>
                </a:lnTo>
                <a:cubicBezTo>
                  <a:pt x="323276" y="787715"/>
                  <a:pt x="336436" y="790566"/>
                  <a:pt x="346310" y="784207"/>
                </a:cubicBezTo>
                <a:cubicBezTo>
                  <a:pt x="346985" y="783774"/>
                  <a:pt x="347633" y="783302"/>
                  <a:pt x="348253" y="782795"/>
                </a:cubicBezTo>
                <a:lnTo>
                  <a:pt x="380354" y="756596"/>
                </a:lnTo>
                <a:cubicBezTo>
                  <a:pt x="388182" y="750203"/>
                  <a:pt x="399428" y="750203"/>
                  <a:pt x="407256" y="756596"/>
                </a:cubicBezTo>
                <a:lnTo>
                  <a:pt x="439357" y="782795"/>
                </a:lnTo>
                <a:cubicBezTo>
                  <a:pt x="448452" y="790227"/>
                  <a:pt x="461849" y="788877"/>
                  <a:pt x="469280" y="779783"/>
                </a:cubicBezTo>
                <a:cubicBezTo>
                  <a:pt x="469787" y="779162"/>
                  <a:pt x="470258" y="778513"/>
                  <a:pt x="470692" y="777840"/>
                </a:cubicBezTo>
                <a:lnTo>
                  <a:pt x="493128" y="742996"/>
                </a:lnTo>
                <a:cubicBezTo>
                  <a:pt x="498595" y="734503"/>
                  <a:pt x="509283" y="731028"/>
                  <a:pt x="518700" y="734681"/>
                </a:cubicBezTo>
                <a:lnTo>
                  <a:pt x="557340" y="749684"/>
                </a:lnTo>
                <a:cubicBezTo>
                  <a:pt x="568288" y="753937"/>
                  <a:pt x="580611" y="748509"/>
                  <a:pt x="584864" y="737562"/>
                </a:cubicBezTo>
                <a:cubicBezTo>
                  <a:pt x="585152" y="736818"/>
                  <a:pt x="585400" y="736059"/>
                  <a:pt x="585603" y="735287"/>
                </a:cubicBezTo>
                <a:lnTo>
                  <a:pt x="596172" y="695211"/>
                </a:lnTo>
                <a:cubicBezTo>
                  <a:pt x="598747" y="685443"/>
                  <a:pt x="607841" y="678834"/>
                  <a:pt x="617927" y="679400"/>
                </a:cubicBezTo>
                <a:lnTo>
                  <a:pt x="659311" y="681729"/>
                </a:lnTo>
                <a:cubicBezTo>
                  <a:pt x="671037" y="682387"/>
                  <a:pt x="681077" y="673415"/>
                  <a:pt x="681736" y="661689"/>
                </a:cubicBezTo>
                <a:cubicBezTo>
                  <a:pt x="681780" y="660894"/>
                  <a:pt x="681780" y="660098"/>
                  <a:pt x="681736" y="659304"/>
                </a:cubicBezTo>
                <a:lnTo>
                  <a:pt x="679407" y="617920"/>
                </a:lnTo>
                <a:cubicBezTo>
                  <a:pt x="678841" y="607834"/>
                  <a:pt x="685450" y="598740"/>
                  <a:pt x="695218" y="596165"/>
                </a:cubicBezTo>
                <a:lnTo>
                  <a:pt x="735294" y="585596"/>
                </a:lnTo>
                <a:cubicBezTo>
                  <a:pt x="746650" y="582600"/>
                  <a:pt x="753426" y="570964"/>
                  <a:pt x="750430" y="559608"/>
                </a:cubicBezTo>
                <a:cubicBezTo>
                  <a:pt x="750227" y="558837"/>
                  <a:pt x="749980" y="558077"/>
                  <a:pt x="749691" y="557333"/>
                </a:cubicBezTo>
                <a:lnTo>
                  <a:pt x="734688" y="518693"/>
                </a:lnTo>
                <a:cubicBezTo>
                  <a:pt x="731034" y="509275"/>
                  <a:pt x="734510" y="498588"/>
                  <a:pt x="743003" y="493121"/>
                </a:cubicBezTo>
                <a:lnTo>
                  <a:pt x="777847" y="470685"/>
                </a:lnTo>
                <a:cubicBezTo>
                  <a:pt x="787722" y="464327"/>
                  <a:pt x="790573" y="451167"/>
                  <a:pt x="784214" y="441292"/>
                </a:cubicBezTo>
                <a:cubicBezTo>
                  <a:pt x="783780" y="440618"/>
                  <a:pt x="783309" y="439970"/>
                  <a:pt x="782802" y="439350"/>
                </a:cubicBezTo>
                <a:close/>
                <a:moveTo>
                  <a:pt x="393805" y="670256"/>
                </a:moveTo>
                <a:cubicBezTo>
                  <a:pt x="241122" y="670256"/>
                  <a:pt x="117347" y="546481"/>
                  <a:pt x="117347" y="393798"/>
                </a:cubicBezTo>
                <a:cubicBezTo>
                  <a:pt x="117347" y="241115"/>
                  <a:pt x="241122" y="117340"/>
                  <a:pt x="393805" y="117340"/>
                </a:cubicBezTo>
                <a:cubicBezTo>
                  <a:pt x="546488" y="117340"/>
                  <a:pt x="670263" y="241115"/>
                  <a:pt x="670263" y="393798"/>
                </a:cubicBezTo>
                <a:cubicBezTo>
                  <a:pt x="670092" y="546411"/>
                  <a:pt x="546418" y="670086"/>
                  <a:pt x="393805" y="670256"/>
                </a:cubicBezTo>
                <a:close/>
              </a:path>
            </a:pathLst>
          </a:custGeom>
          <a:solidFill>
            <a:schemeClr val="bg2"/>
          </a:solidFill>
          <a:ln w="10616" cap="flat">
            <a:noFill/>
            <a:prstDash val="solid"/>
            <a:miter/>
          </a:ln>
        </p:spPr>
        <p:txBody>
          <a:bodyPr rtlCol="0" anchor="ctr"/>
          <a:lstStyle/>
          <a:p>
            <a:endParaRPr lang="en-US" noProof="0" dirty="0">
              <a:latin typeface="Ellab Sans" panose="02000503000000020004" pitchFamily="2" charset="0"/>
            </a:endParaRPr>
          </a:p>
        </p:txBody>
      </p:sp>
    </p:spTree>
    <p:extLst>
      <p:ext uri="{BB962C8B-B14F-4D97-AF65-F5344CB8AC3E}">
        <p14:creationId xmlns:p14="http://schemas.microsoft.com/office/powerpoint/2010/main" val="3725007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E1CE88A-CAA8-A545-BD71-2F22541931F4}"/>
              </a:ext>
            </a:extLst>
          </p:cNvPr>
          <p:cNvSpPr>
            <a:spLocks noGrp="1"/>
          </p:cNvSpPr>
          <p:nvPr>
            <p:ph type="body" sz="half" idx="10"/>
          </p:nvPr>
        </p:nvSpPr>
        <p:spPr>
          <a:xfrm>
            <a:off x="381609" y="2105492"/>
            <a:ext cx="8467726" cy="3645850"/>
          </a:xfrm>
        </p:spPr>
        <p:txBody>
          <a:bodyPr vert="horz" lIns="91440" tIns="45720" rIns="91440" bIns="45720" rtlCol="0" anchor="t">
            <a:normAutofit fontScale="92500" lnSpcReduction="10000"/>
          </a:bodyPr>
          <a:lstStyle>
            <a:defPPr>
              <a:defRPr lang="en-US"/>
            </a:defPPr>
            <a:lvl1pPr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586130"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17226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75839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344522"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930652" algn="l" defTabSz="1172261" rtl="0" eaLnBrk="1" latinLnBrk="0" hangingPunct="1">
              <a:defRPr kern="1200">
                <a:solidFill>
                  <a:schemeClr val="tx1"/>
                </a:solidFill>
                <a:latin typeface="Calibri" panose="020F0502020204030204" pitchFamily="34" charset="0"/>
                <a:ea typeface="+mn-ea"/>
                <a:cs typeface="+mn-cs"/>
              </a:defRPr>
            </a:lvl6pPr>
            <a:lvl7pPr marL="3516782" algn="l" defTabSz="1172261" rtl="0" eaLnBrk="1" latinLnBrk="0" hangingPunct="1">
              <a:defRPr kern="1200">
                <a:solidFill>
                  <a:schemeClr val="tx1"/>
                </a:solidFill>
                <a:latin typeface="Calibri" panose="020F0502020204030204" pitchFamily="34" charset="0"/>
                <a:ea typeface="+mn-ea"/>
                <a:cs typeface="+mn-cs"/>
              </a:defRPr>
            </a:lvl7pPr>
            <a:lvl8pPr marL="4102913" algn="l" defTabSz="1172261" rtl="0" eaLnBrk="1" latinLnBrk="0" hangingPunct="1">
              <a:defRPr kern="1200">
                <a:solidFill>
                  <a:schemeClr val="tx1"/>
                </a:solidFill>
                <a:latin typeface="Calibri" panose="020F0502020204030204" pitchFamily="34" charset="0"/>
                <a:ea typeface="+mn-ea"/>
                <a:cs typeface="+mn-cs"/>
              </a:defRPr>
            </a:lvl8pPr>
            <a:lvl9pPr marL="4689043" algn="l" defTabSz="1172261" rtl="0" eaLnBrk="1" latinLnBrk="0" hangingPunct="1">
              <a:defRPr kern="1200">
                <a:solidFill>
                  <a:schemeClr val="tx1"/>
                </a:solidFill>
                <a:latin typeface="Calibri" panose="020F0502020204030204" pitchFamily="34" charset="0"/>
                <a:ea typeface="+mn-ea"/>
                <a:cs typeface="+mn-cs"/>
              </a:defRPr>
            </a:lvl9pPr>
          </a:lstStyle>
          <a:p>
            <a:pPr marL="0" lvl="1" indent="0">
              <a:lnSpc>
                <a:spcPct val="100000"/>
              </a:lnSpc>
              <a:buNone/>
            </a:pPr>
            <a:endParaRPr lang="en-US" sz="1650" noProof="0" dirty="0">
              <a:latin typeface="Ellab Sans" panose="02000503000000020004" pitchFamily="2" charset="0"/>
              <a:ea typeface="Ellab Sans" panose="02000503000000020004" pitchFamily="2" charset="0"/>
              <a:cs typeface="Ellab Sans" panose="02000503000000020004" pitchFamily="2" charset="0"/>
            </a:endParaRPr>
          </a:p>
          <a:p>
            <a:pPr marL="0" lvl="1" indent="-342900">
              <a:lnSpc>
                <a:spcPct val="100000"/>
              </a:lnSpc>
            </a:pPr>
            <a:r>
              <a:rPr lang="en-US" sz="6000" b="1" noProof="0" dirty="0">
                <a:solidFill>
                  <a:schemeClr val="tx1"/>
                </a:solidFill>
                <a:latin typeface="Ellab Sans" panose="02000503000000020004" pitchFamily="2" charset="0"/>
              </a:rPr>
              <a:t>More than </a:t>
            </a:r>
            <a:r>
              <a:rPr lang="en-US" sz="6000" b="1" noProof="0" dirty="0">
                <a:solidFill>
                  <a:schemeClr val="accent1"/>
                </a:solidFill>
                <a:latin typeface="Ellab Sans" panose="02000503000000020004" pitchFamily="2" charset="0"/>
              </a:rPr>
              <a:t>5000</a:t>
            </a:r>
            <a:r>
              <a:rPr lang="en-US" sz="6000" b="1" noProof="0" dirty="0">
                <a:solidFill>
                  <a:schemeClr val="tx1"/>
                </a:solidFill>
                <a:latin typeface="Ellab Sans" panose="02000503000000020004" pitchFamily="2" charset="0"/>
              </a:rPr>
              <a:t> ValSuite installations Worldwide</a:t>
            </a:r>
          </a:p>
          <a:p>
            <a:pPr marL="586105" lvl="1">
              <a:lnSpc>
                <a:spcPct val="100000"/>
              </a:lnSpc>
            </a:pPr>
            <a:endParaRPr lang="en-US" sz="1680" noProof="0" dirty="0">
              <a:solidFill>
                <a:schemeClr val="tx1"/>
              </a:solidFill>
              <a:latin typeface="Ellab Sans" panose="02000503000000020004" pitchFamily="2" charset="0"/>
              <a:ea typeface="Ellab Sans" panose="02000503000000020004" pitchFamily="2" charset="0"/>
              <a:cs typeface="Ellab Sans" panose="02000503000000020004" pitchFamily="2" charset="0"/>
            </a:endParaRPr>
          </a:p>
          <a:p>
            <a:pPr marL="342900" indent="-342900">
              <a:lnSpc>
                <a:spcPct val="100000"/>
              </a:lnSpc>
              <a:buClr>
                <a:schemeClr val="accent1"/>
              </a:buClr>
              <a:buFont typeface="Arial" panose="020B0604020202020204" pitchFamily="34" charset="0"/>
              <a:buChar char="•"/>
            </a:pPr>
            <a:r>
              <a:rPr lang="en-US" sz="1680" b="0" noProof="0" dirty="0">
                <a:latin typeface="+mj-lt"/>
              </a:rPr>
              <a:t>IQ/OQ documentation included in delivery</a:t>
            </a:r>
          </a:p>
          <a:p>
            <a:pPr marL="586105" lvl="1">
              <a:lnSpc>
                <a:spcPct val="100000"/>
              </a:lnSpc>
            </a:pPr>
            <a:endParaRPr lang="en-US" sz="1680" noProof="0" dirty="0">
              <a:solidFill>
                <a:schemeClr val="tx1"/>
              </a:solidFill>
              <a:latin typeface="+mj-lt"/>
              <a:ea typeface="Ellab Sans" panose="02000503000000020004" pitchFamily="2" charset="0"/>
              <a:cs typeface="Ellab Sans" panose="02000503000000020004" pitchFamily="2" charset="0"/>
            </a:endParaRPr>
          </a:p>
          <a:p>
            <a:pPr marL="342900" indent="-342900">
              <a:lnSpc>
                <a:spcPct val="100000"/>
              </a:lnSpc>
              <a:buClr>
                <a:schemeClr val="accent1"/>
              </a:buClr>
              <a:buFont typeface="Arial" panose="020B0604020202020204" pitchFamily="34" charset="0"/>
              <a:buChar char="•"/>
            </a:pPr>
            <a:r>
              <a:rPr lang="en-US" sz="1680" b="0" noProof="0" dirty="0">
                <a:latin typeface="+mj-lt"/>
              </a:rPr>
              <a:t>Customer Support: Ellab Software Support Team</a:t>
            </a:r>
          </a:p>
          <a:p>
            <a:pPr marL="155575" lvl="1" indent="0">
              <a:lnSpc>
                <a:spcPct val="100000"/>
              </a:lnSpc>
              <a:buNone/>
            </a:pPr>
            <a:endParaRPr lang="en-US" sz="1680" noProof="0" dirty="0">
              <a:solidFill>
                <a:schemeClr val="tx1"/>
              </a:solidFill>
              <a:latin typeface="Ellab Sans" panose="02000503000000020004" pitchFamily="2" charset="0"/>
              <a:ea typeface="Ellab Sans" panose="02000503000000020004" pitchFamily="2" charset="0"/>
              <a:cs typeface="Ellab Sans" panose="02000503000000020004" pitchFamily="2" charset="0"/>
            </a:endParaRPr>
          </a:p>
          <a:p>
            <a:pPr marL="155575" lvl="1" indent="0">
              <a:lnSpc>
                <a:spcPct val="140000"/>
              </a:lnSpc>
              <a:buNone/>
            </a:pPr>
            <a:endParaRPr lang="en-US" sz="1680" noProof="0" dirty="0">
              <a:latin typeface="Ellab Sans" panose="02000503000000020004" pitchFamily="2" charset="0"/>
              <a:ea typeface="Ellab Sans" panose="02000503000000020004" pitchFamily="2" charset="0"/>
              <a:cs typeface="Ellab Sans" panose="02000503000000020004" pitchFamily="2" charset="0"/>
            </a:endParaRPr>
          </a:p>
          <a:p>
            <a:pPr marL="155575" lvl="1" indent="0">
              <a:lnSpc>
                <a:spcPct val="140000"/>
              </a:lnSpc>
              <a:buNone/>
            </a:pPr>
            <a:endParaRPr lang="en-US" sz="1680" noProof="0" dirty="0">
              <a:latin typeface="Ellab Sans" panose="02000503000000020004" pitchFamily="2" charset="0"/>
              <a:ea typeface="Ellab Sans" panose="02000503000000020004" pitchFamily="2" charset="0"/>
              <a:cs typeface="Ellab Sans" panose="02000503000000020004" pitchFamily="2" charset="0"/>
            </a:endParaRPr>
          </a:p>
        </p:txBody>
      </p:sp>
      <p:sp>
        <p:nvSpPr>
          <p:cNvPr id="3" name="Title 2">
            <a:extLst>
              <a:ext uri="{FF2B5EF4-FFF2-40B4-BE49-F238E27FC236}">
                <a16:creationId xmlns:a16="http://schemas.microsoft.com/office/drawing/2014/main" id="{66FBEEBE-7E4F-524A-8687-B7AECA7C4075}"/>
              </a:ext>
            </a:extLst>
          </p:cNvPr>
          <p:cNvSpPr>
            <a:spLocks noGrp="1"/>
          </p:cNvSpPr>
          <p:nvPr>
            <p:ph type="title"/>
          </p:nvPr>
        </p:nvSpPr>
        <p:spPr/>
        <p:txBody>
          <a:bodyPr/>
          <a:lstStyle>
            <a:defPPr>
              <a:defRPr lang="en-US"/>
            </a:defPPr>
            <a:lvl1pPr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586130"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17226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75839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344522"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930652" algn="l" defTabSz="1172261" rtl="0" eaLnBrk="1" latinLnBrk="0" hangingPunct="1">
              <a:defRPr kern="1200">
                <a:solidFill>
                  <a:schemeClr val="tx1"/>
                </a:solidFill>
                <a:latin typeface="Calibri" panose="020F0502020204030204" pitchFamily="34" charset="0"/>
                <a:ea typeface="+mn-ea"/>
                <a:cs typeface="+mn-cs"/>
              </a:defRPr>
            </a:lvl6pPr>
            <a:lvl7pPr marL="3516782" algn="l" defTabSz="1172261" rtl="0" eaLnBrk="1" latinLnBrk="0" hangingPunct="1">
              <a:defRPr kern="1200">
                <a:solidFill>
                  <a:schemeClr val="tx1"/>
                </a:solidFill>
                <a:latin typeface="Calibri" panose="020F0502020204030204" pitchFamily="34" charset="0"/>
                <a:ea typeface="+mn-ea"/>
                <a:cs typeface="+mn-cs"/>
              </a:defRPr>
            </a:lvl7pPr>
            <a:lvl8pPr marL="4102913" algn="l" defTabSz="1172261" rtl="0" eaLnBrk="1" latinLnBrk="0" hangingPunct="1">
              <a:defRPr kern="1200">
                <a:solidFill>
                  <a:schemeClr val="tx1"/>
                </a:solidFill>
                <a:latin typeface="Calibri" panose="020F0502020204030204" pitchFamily="34" charset="0"/>
                <a:ea typeface="+mn-ea"/>
                <a:cs typeface="+mn-cs"/>
              </a:defRPr>
            </a:lvl8pPr>
            <a:lvl9pPr marL="4689043" algn="l" defTabSz="1172261" rtl="0" eaLnBrk="1" latinLnBrk="0" hangingPunct="1">
              <a:defRPr kern="1200">
                <a:solidFill>
                  <a:schemeClr val="tx1"/>
                </a:solidFill>
                <a:latin typeface="Calibri" panose="020F0502020204030204" pitchFamily="34" charset="0"/>
                <a:ea typeface="+mn-ea"/>
                <a:cs typeface="+mn-cs"/>
              </a:defRPr>
            </a:lvl9pPr>
          </a:lstStyle>
          <a:p>
            <a:r>
              <a:rPr lang="en-US" sz="2796" noProof="0" dirty="0">
                <a:solidFill>
                  <a:schemeClr val="tx2"/>
                </a:solidFill>
                <a:latin typeface="Ellab Sans" panose="02000503000000020004" pitchFamily="2" charset="0"/>
              </a:rPr>
              <a:t>ValSuite Software Highlights</a:t>
            </a:r>
          </a:p>
        </p:txBody>
      </p:sp>
      <p:pic>
        <p:nvPicPr>
          <p:cNvPr id="8" name="Picture Placeholder 8">
            <a:extLst>
              <a:ext uri="{FF2B5EF4-FFF2-40B4-BE49-F238E27FC236}">
                <a16:creationId xmlns:a16="http://schemas.microsoft.com/office/drawing/2014/main" id="{B310E426-9B01-73A7-E054-EA466B32413C}"/>
              </a:ext>
            </a:extLst>
          </p:cNvPr>
          <p:cNvPicPr>
            <a:picLocks noChangeAspect="1"/>
          </p:cNvPicPr>
          <p:nvPr/>
        </p:nvPicPr>
        <p:blipFill rotWithShape="1">
          <a:blip r:embed="rId3"/>
          <a:srcRect l="19462" r="36131"/>
          <a:stretch/>
        </p:blipFill>
        <p:spPr>
          <a:xfrm>
            <a:off x="7900036" y="1771650"/>
            <a:ext cx="3682364" cy="4665346"/>
          </a:xfrm>
          <a:custGeom>
            <a:avLst/>
            <a:gdLst>
              <a:gd name="connsiteX0" fmla="*/ 751121 w 4092054"/>
              <a:gd name="connsiteY0" fmla="*/ 0 h 4664835"/>
              <a:gd name="connsiteX1" fmla="*/ 4092054 w 4092054"/>
              <a:gd name="connsiteY1" fmla="*/ 0 h 4664835"/>
              <a:gd name="connsiteX2" fmla="*/ 4092054 w 4092054"/>
              <a:gd name="connsiteY2" fmla="*/ 4664835 h 4664835"/>
              <a:gd name="connsiteX3" fmla="*/ 0 w 4092054"/>
              <a:gd name="connsiteY3" fmla="*/ 4664835 h 4664835"/>
            </a:gdLst>
            <a:ahLst/>
            <a:cxnLst>
              <a:cxn ang="0">
                <a:pos x="connsiteX0" y="connsiteY0"/>
              </a:cxn>
              <a:cxn ang="0">
                <a:pos x="connsiteX1" y="connsiteY1"/>
              </a:cxn>
              <a:cxn ang="0">
                <a:pos x="connsiteX2" y="connsiteY2"/>
              </a:cxn>
              <a:cxn ang="0">
                <a:pos x="connsiteX3" y="connsiteY3"/>
              </a:cxn>
            </a:cxnLst>
            <a:rect l="l" t="t" r="r" b="b"/>
            <a:pathLst>
              <a:path w="4092054" h="4664835">
                <a:moveTo>
                  <a:pt x="751121" y="0"/>
                </a:moveTo>
                <a:lnTo>
                  <a:pt x="4092054" y="0"/>
                </a:lnTo>
                <a:lnTo>
                  <a:pt x="4092054" y="4664835"/>
                </a:lnTo>
                <a:lnTo>
                  <a:pt x="0" y="4664835"/>
                </a:lnTo>
                <a:close/>
              </a:path>
            </a:pathLst>
          </a:custGeom>
        </p:spPr>
      </p:pic>
      <p:sp>
        <p:nvSpPr>
          <p:cNvPr id="2" name="Text Placeholder 4">
            <a:extLst>
              <a:ext uri="{FF2B5EF4-FFF2-40B4-BE49-F238E27FC236}">
                <a16:creationId xmlns:a16="http://schemas.microsoft.com/office/drawing/2014/main" id="{D9E1BA7A-342A-D134-2F8B-E54472EACA57}"/>
              </a:ext>
            </a:extLst>
          </p:cNvPr>
          <p:cNvSpPr txBox="1">
            <a:spLocks/>
          </p:cNvSpPr>
          <p:nvPr/>
        </p:nvSpPr>
        <p:spPr bwMode="auto">
          <a:xfrm>
            <a:off x="381609" y="1454353"/>
            <a:ext cx="11485562" cy="333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noProof="0" dirty="0">
                <a:latin typeface="Ellab Sans" panose="02000503000000020004" pitchFamily="2" charset="0"/>
              </a:rPr>
              <a:t>ValSuite - Industry leading validation software</a:t>
            </a:r>
          </a:p>
        </p:txBody>
      </p:sp>
    </p:spTree>
    <p:extLst>
      <p:ext uri="{BB962C8B-B14F-4D97-AF65-F5344CB8AC3E}">
        <p14:creationId xmlns:p14="http://schemas.microsoft.com/office/powerpoint/2010/main" val="15949452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B0328B5-FFC5-BB4F-BDB7-7E5DD1F8E76F}"/>
              </a:ext>
            </a:extLst>
          </p:cNvPr>
          <p:cNvSpPr>
            <a:spLocks noGrp="1"/>
          </p:cNvSpPr>
          <p:nvPr>
            <p:ph type="body" sz="half" idx="10"/>
          </p:nvPr>
        </p:nvSpPr>
        <p:spPr>
          <a:xfrm>
            <a:off x="371475" y="2520000"/>
            <a:ext cx="6215938" cy="3645850"/>
          </a:xfrm>
        </p:spPr>
        <p:txBody>
          <a:bodyPr/>
          <a:lstStyle>
            <a:defPPr>
              <a:defRPr lang="en-US"/>
            </a:defPPr>
            <a:lvl1pPr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586130"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17226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75839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344522"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930652" algn="l" defTabSz="1172261" rtl="0" eaLnBrk="1" latinLnBrk="0" hangingPunct="1">
              <a:defRPr kern="1200">
                <a:solidFill>
                  <a:schemeClr val="tx1"/>
                </a:solidFill>
                <a:latin typeface="Calibri" panose="020F0502020204030204" pitchFamily="34" charset="0"/>
                <a:ea typeface="+mn-ea"/>
                <a:cs typeface="+mn-cs"/>
              </a:defRPr>
            </a:lvl6pPr>
            <a:lvl7pPr marL="3516782" algn="l" defTabSz="1172261" rtl="0" eaLnBrk="1" latinLnBrk="0" hangingPunct="1">
              <a:defRPr kern="1200">
                <a:solidFill>
                  <a:schemeClr val="tx1"/>
                </a:solidFill>
                <a:latin typeface="Calibri" panose="020F0502020204030204" pitchFamily="34" charset="0"/>
                <a:ea typeface="+mn-ea"/>
                <a:cs typeface="+mn-cs"/>
              </a:defRPr>
            </a:lvl7pPr>
            <a:lvl8pPr marL="4102913" algn="l" defTabSz="1172261" rtl="0" eaLnBrk="1" latinLnBrk="0" hangingPunct="1">
              <a:defRPr kern="1200">
                <a:solidFill>
                  <a:schemeClr val="tx1"/>
                </a:solidFill>
                <a:latin typeface="Calibri" panose="020F0502020204030204" pitchFamily="34" charset="0"/>
                <a:ea typeface="+mn-ea"/>
                <a:cs typeface="+mn-cs"/>
              </a:defRPr>
            </a:lvl8pPr>
            <a:lvl9pPr marL="4689043" algn="l" defTabSz="1172261" rtl="0" eaLnBrk="1" latinLnBrk="0" hangingPunct="1">
              <a:defRPr kern="1200">
                <a:solidFill>
                  <a:schemeClr val="tx1"/>
                </a:solidFill>
                <a:latin typeface="Calibri" panose="020F0502020204030204" pitchFamily="34" charset="0"/>
                <a:ea typeface="+mn-ea"/>
                <a:cs typeface="+mn-cs"/>
              </a:defRPr>
            </a:lvl9pPr>
          </a:lstStyle>
          <a:p>
            <a:pPr marL="871880" lvl="1" indent="-285750">
              <a:lnSpc>
                <a:spcPct val="100000"/>
              </a:lnSpc>
              <a:spcBef>
                <a:spcPts val="0"/>
              </a:spcBef>
              <a:buFont typeface="Arial" panose="020B0604020202020204" pitchFamily="34" charset="0"/>
              <a:buChar char="•"/>
            </a:pPr>
            <a:r>
              <a:rPr lang="en-US" sz="1680" noProof="0" dirty="0">
                <a:solidFill>
                  <a:schemeClr val="tx1"/>
                </a:solidFill>
                <a:latin typeface="Ellab Sans" panose="02000503000000020004" pitchFamily="2" charset="0"/>
              </a:rPr>
              <a:t>Enables central storage in one database of all sessions conducted</a:t>
            </a:r>
          </a:p>
          <a:p>
            <a:pPr marL="441806" lvl="1" indent="-285750">
              <a:lnSpc>
                <a:spcPct val="100000"/>
              </a:lnSpc>
              <a:spcBef>
                <a:spcPts val="0"/>
              </a:spcBef>
              <a:buFont typeface="Arial" panose="020B0604020202020204" pitchFamily="34" charset="0"/>
              <a:buChar char="•"/>
            </a:pPr>
            <a:endParaRPr lang="en-US" sz="1680" noProof="0" dirty="0">
              <a:solidFill>
                <a:schemeClr val="tx1"/>
              </a:solidFill>
              <a:latin typeface="Ellab Sans" panose="02000503000000020004" pitchFamily="2" charset="0"/>
            </a:endParaRPr>
          </a:p>
          <a:p>
            <a:pPr marL="871880" lvl="1" indent="-285750">
              <a:lnSpc>
                <a:spcPct val="100000"/>
              </a:lnSpc>
              <a:spcBef>
                <a:spcPts val="0"/>
              </a:spcBef>
              <a:buFont typeface="Arial" panose="020B0604020202020204" pitchFamily="34" charset="0"/>
              <a:buChar char="•"/>
            </a:pPr>
            <a:r>
              <a:rPr lang="en-US" sz="1680" noProof="0" dirty="0">
                <a:solidFill>
                  <a:schemeClr val="tx1"/>
                </a:solidFill>
                <a:latin typeface="Ellab Sans" panose="02000503000000020004" pitchFamily="2" charset="0"/>
              </a:rPr>
              <a:t>Several PC’s/clients can be connected to the same server, hence access to all data at same time</a:t>
            </a:r>
          </a:p>
          <a:p>
            <a:pPr marL="441806" lvl="1" indent="-285750">
              <a:lnSpc>
                <a:spcPct val="100000"/>
              </a:lnSpc>
              <a:spcBef>
                <a:spcPts val="0"/>
              </a:spcBef>
              <a:buFont typeface="Arial" panose="020B0604020202020204" pitchFamily="34" charset="0"/>
              <a:buChar char="•"/>
            </a:pPr>
            <a:endParaRPr lang="en-US" sz="1680" noProof="0" dirty="0">
              <a:solidFill>
                <a:schemeClr val="tx1"/>
              </a:solidFill>
              <a:latin typeface="Ellab Sans" panose="02000503000000020004" pitchFamily="2" charset="0"/>
            </a:endParaRPr>
          </a:p>
          <a:p>
            <a:pPr marL="871880" lvl="1" indent="-285750">
              <a:lnSpc>
                <a:spcPct val="100000"/>
              </a:lnSpc>
              <a:spcBef>
                <a:spcPts val="0"/>
              </a:spcBef>
              <a:buFont typeface="Arial" panose="020B0604020202020204" pitchFamily="34" charset="0"/>
              <a:buChar char="•"/>
            </a:pPr>
            <a:r>
              <a:rPr lang="en-US" sz="1680" noProof="0" dirty="0">
                <a:solidFill>
                  <a:schemeClr val="tx1"/>
                </a:solidFill>
                <a:latin typeface="Ellab Sans" panose="02000503000000020004" pitchFamily="2" charset="0"/>
              </a:rPr>
              <a:t>Allows all studies from various operators / venues to be accessed centrally on main server</a:t>
            </a:r>
          </a:p>
          <a:p>
            <a:pPr marL="871880" lvl="1" indent="-285750">
              <a:lnSpc>
                <a:spcPct val="100000"/>
              </a:lnSpc>
              <a:spcBef>
                <a:spcPts val="0"/>
              </a:spcBef>
              <a:buFont typeface="Arial" panose="020B0604020202020204" pitchFamily="34" charset="0"/>
              <a:buChar char="•"/>
            </a:pPr>
            <a:endParaRPr lang="en-US" sz="1680" noProof="0" dirty="0">
              <a:solidFill>
                <a:schemeClr val="tx1"/>
              </a:solidFill>
              <a:latin typeface="Ellab Sans" panose="02000503000000020004" pitchFamily="2" charset="0"/>
            </a:endParaRPr>
          </a:p>
          <a:p>
            <a:pPr marL="871880" lvl="1" indent="-285750">
              <a:lnSpc>
                <a:spcPct val="100000"/>
              </a:lnSpc>
              <a:spcBef>
                <a:spcPts val="0"/>
              </a:spcBef>
              <a:buFont typeface="Arial" panose="020B0604020202020204" pitchFamily="34" charset="0"/>
              <a:buChar char="•"/>
            </a:pPr>
            <a:r>
              <a:rPr lang="en-US" sz="1680" noProof="0" dirty="0">
                <a:solidFill>
                  <a:schemeClr val="tx1"/>
                </a:solidFill>
                <a:latin typeface="Ellab Sans" panose="02000503000000020004" pitchFamily="2" charset="0"/>
              </a:rPr>
              <a:t>PCs used remotely during session acquisition when reconnected to the server will auto transfer and send all new sessions to the server</a:t>
            </a:r>
          </a:p>
          <a:p>
            <a:pPr lvl="1">
              <a:lnSpc>
                <a:spcPct val="100000"/>
              </a:lnSpc>
              <a:spcBef>
                <a:spcPts val="0"/>
              </a:spcBef>
            </a:pPr>
            <a:endParaRPr lang="en-US" sz="1440" noProof="0" dirty="0">
              <a:solidFill>
                <a:schemeClr val="tx1"/>
              </a:solidFill>
              <a:latin typeface="Ellab Sans" panose="02000503000000020004" pitchFamily="2" charset="0"/>
            </a:endParaRPr>
          </a:p>
        </p:txBody>
      </p:sp>
      <p:sp>
        <p:nvSpPr>
          <p:cNvPr id="2" name="Title 1">
            <a:extLst>
              <a:ext uri="{FF2B5EF4-FFF2-40B4-BE49-F238E27FC236}">
                <a16:creationId xmlns:a16="http://schemas.microsoft.com/office/drawing/2014/main" id="{A90F07C0-86A0-5145-883C-8952E722521B}"/>
              </a:ext>
            </a:extLst>
          </p:cNvPr>
          <p:cNvSpPr>
            <a:spLocks noGrp="1"/>
          </p:cNvSpPr>
          <p:nvPr>
            <p:ph type="title"/>
          </p:nvPr>
        </p:nvSpPr>
        <p:spPr/>
        <p:txBody>
          <a:bodyPr/>
          <a:lstStyle>
            <a:defPPr>
              <a:defRPr lang="en-US"/>
            </a:defPPr>
            <a:lvl1pPr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586130"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117226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758391"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2344522" algn="l" defTabSz="58613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930652" algn="l" defTabSz="1172261" rtl="0" eaLnBrk="1" latinLnBrk="0" hangingPunct="1">
              <a:defRPr kern="1200">
                <a:solidFill>
                  <a:schemeClr val="tx1"/>
                </a:solidFill>
                <a:latin typeface="Calibri" panose="020F0502020204030204" pitchFamily="34" charset="0"/>
                <a:ea typeface="+mn-ea"/>
                <a:cs typeface="+mn-cs"/>
              </a:defRPr>
            </a:lvl6pPr>
            <a:lvl7pPr marL="3516782" algn="l" defTabSz="1172261" rtl="0" eaLnBrk="1" latinLnBrk="0" hangingPunct="1">
              <a:defRPr kern="1200">
                <a:solidFill>
                  <a:schemeClr val="tx1"/>
                </a:solidFill>
                <a:latin typeface="Calibri" panose="020F0502020204030204" pitchFamily="34" charset="0"/>
                <a:ea typeface="+mn-ea"/>
                <a:cs typeface="+mn-cs"/>
              </a:defRPr>
            </a:lvl7pPr>
            <a:lvl8pPr marL="4102913" algn="l" defTabSz="1172261" rtl="0" eaLnBrk="1" latinLnBrk="0" hangingPunct="1">
              <a:defRPr kern="1200">
                <a:solidFill>
                  <a:schemeClr val="tx1"/>
                </a:solidFill>
                <a:latin typeface="Calibri" panose="020F0502020204030204" pitchFamily="34" charset="0"/>
                <a:ea typeface="+mn-ea"/>
                <a:cs typeface="+mn-cs"/>
              </a:defRPr>
            </a:lvl8pPr>
            <a:lvl9pPr marL="4689043" algn="l" defTabSz="1172261" rtl="0" eaLnBrk="1" latinLnBrk="0" hangingPunct="1">
              <a:defRPr kern="1200">
                <a:solidFill>
                  <a:schemeClr val="tx1"/>
                </a:solidFill>
                <a:latin typeface="Calibri" panose="020F0502020204030204" pitchFamily="34" charset="0"/>
                <a:ea typeface="+mn-ea"/>
                <a:cs typeface="+mn-cs"/>
              </a:defRPr>
            </a:lvl9pPr>
          </a:lstStyle>
          <a:p>
            <a:r>
              <a:rPr lang="en-US" sz="2796" noProof="0" dirty="0">
                <a:latin typeface="Ellab Sans" panose="02000503000000020004" pitchFamily="2" charset="0"/>
              </a:rPr>
              <a:t>ValSuite Software Highlights</a:t>
            </a:r>
          </a:p>
        </p:txBody>
      </p:sp>
      <p:sp>
        <p:nvSpPr>
          <p:cNvPr id="5" name="Text Placeholder 4">
            <a:extLst>
              <a:ext uri="{FF2B5EF4-FFF2-40B4-BE49-F238E27FC236}">
                <a16:creationId xmlns:a16="http://schemas.microsoft.com/office/drawing/2014/main" id="{2DCC8571-E769-5571-D15A-AE0011BD525E}"/>
              </a:ext>
            </a:extLst>
          </p:cNvPr>
          <p:cNvSpPr txBox="1">
            <a:spLocks/>
          </p:cNvSpPr>
          <p:nvPr/>
        </p:nvSpPr>
        <p:spPr bwMode="auto">
          <a:xfrm>
            <a:off x="381609" y="1454353"/>
            <a:ext cx="11485562" cy="333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ts val="1800"/>
              </a:lnSpc>
              <a:spcBef>
                <a:spcPct val="0"/>
              </a:spcBef>
              <a:spcAft>
                <a:spcPct val="0"/>
              </a:spcAft>
              <a:buFont typeface="Arial" panose="020B0604020202020204" pitchFamily="34" charset="0"/>
              <a:buNone/>
              <a:defRPr sz="1600" b="1" kern="1200">
                <a:solidFill>
                  <a:schemeClr val="accent1"/>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noProof="0" dirty="0">
                <a:latin typeface="Ellab Sans" panose="02000503000000020004" pitchFamily="2" charset="0"/>
              </a:rPr>
              <a:t>Client/Server Installation</a:t>
            </a:r>
          </a:p>
        </p:txBody>
      </p:sp>
    </p:spTree>
    <p:extLst>
      <p:ext uri="{BB962C8B-B14F-4D97-AF65-F5344CB8AC3E}">
        <p14:creationId xmlns:p14="http://schemas.microsoft.com/office/powerpoint/2010/main" val="12088101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E5E8ACA-5261-0F76-9FD5-DCC83965AAB9}"/>
              </a:ext>
            </a:extLst>
          </p:cNvPr>
          <p:cNvSpPr>
            <a:spLocks noGrp="1"/>
          </p:cNvSpPr>
          <p:nvPr>
            <p:ph type="title"/>
          </p:nvPr>
        </p:nvSpPr>
        <p:spPr/>
        <p:txBody>
          <a:bodyPr/>
          <a:lstStyle/>
          <a:p>
            <a:r>
              <a:rPr lang="en-US" noProof="0" dirty="0"/>
              <a:t>Software </a:t>
            </a:r>
            <a:r>
              <a:rPr lang="en-US" dirty="0"/>
              <a:t>A</a:t>
            </a:r>
            <a:r>
              <a:rPr lang="en-US" noProof="0" dirty="0" err="1"/>
              <a:t>rchitecture</a:t>
            </a:r>
            <a:endParaRPr lang="en-US" noProof="0" dirty="0"/>
          </a:p>
        </p:txBody>
      </p:sp>
      <p:sp>
        <p:nvSpPr>
          <p:cNvPr id="10" name="Rectangle 9">
            <a:extLst>
              <a:ext uri="{FF2B5EF4-FFF2-40B4-BE49-F238E27FC236}">
                <a16:creationId xmlns:a16="http://schemas.microsoft.com/office/drawing/2014/main" id="{67C882B7-CABC-FBCF-12DF-A4B4966DD262}"/>
              </a:ext>
            </a:extLst>
          </p:cNvPr>
          <p:cNvSpPr/>
          <p:nvPr/>
        </p:nvSpPr>
        <p:spPr>
          <a:xfrm>
            <a:off x="2245932" y="2404143"/>
            <a:ext cx="7070105" cy="2408249"/>
          </a:xfrm>
          <a:prstGeom prst="rect">
            <a:avLst/>
          </a:prstGeom>
          <a:solidFill>
            <a:schemeClr val="bg1"/>
          </a:solidFill>
          <a:ln>
            <a:solidFill>
              <a:schemeClr val="accent4"/>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Content Placeholder 1">
            <a:extLst>
              <a:ext uri="{FF2B5EF4-FFF2-40B4-BE49-F238E27FC236}">
                <a16:creationId xmlns:a16="http://schemas.microsoft.com/office/drawing/2014/main" id="{006CC7CA-1B51-A741-30E4-B4BDF16F32C9}"/>
              </a:ext>
            </a:extLst>
          </p:cNvPr>
          <p:cNvSpPr txBox="1">
            <a:spLocks/>
          </p:cNvSpPr>
          <p:nvPr/>
        </p:nvSpPr>
        <p:spPr bwMode="auto">
          <a:xfrm>
            <a:off x="4015819" y="2404144"/>
            <a:ext cx="5241302" cy="240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ctr" anchorCtr="0" compatLnSpc="1">
            <a:prstTxWarp prst="textNoShape">
              <a:avLst/>
            </a:prstTxWarp>
            <a:normAutofit/>
          </a:bodyPr>
          <a:lstStyle>
            <a:lvl1pPr marL="0" indent="0" algn="l" rtl="0" eaLnBrk="1" fontAlgn="base" hangingPunct="1">
              <a:lnSpc>
                <a:spcPts val="1600"/>
              </a:lnSpc>
              <a:spcBef>
                <a:spcPct val="0"/>
              </a:spcBef>
              <a:spcAft>
                <a:spcPct val="0"/>
              </a:spcAft>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1pPr>
            <a:lvl2pPr marL="457200" indent="0" algn="l" rtl="0" eaLnBrk="1" fontAlgn="base" hangingPunct="1">
              <a:lnSpc>
                <a:spcPts val="1600"/>
              </a:lnSpc>
              <a:spcBef>
                <a:spcPts val="500"/>
              </a:spcBef>
              <a:spcAft>
                <a:spcPct val="0"/>
              </a:spcAft>
              <a:buClr>
                <a:schemeClr val="accent1"/>
              </a:buClr>
              <a:buSzPct val="120000"/>
              <a:buFont typeface="Arial" panose="020B0604020202020204" pitchFamily="34" charset="0"/>
              <a:buNone/>
              <a:defRPr sz="1400" b="0" kern="1200">
                <a:solidFill>
                  <a:schemeClr val="tx2"/>
                </a:solidFill>
                <a:latin typeface="+mn-lt"/>
                <a:ea typeface="Ellab Sans" panose="02000503000000020004" pitchFamily="2" charset="0"/>
                <a:cs typeface="Ellab Sans" panose="02000503000000020004" pitchFamily="2" charset="0"/>
              </a:defRPr>
            </a:lvl2pPr>
            <a:lvl3pPr marL="9144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200" b="1" kern="1200">
                <a:solidFill>
                  <a:schemeClr val="tx2"/>
                </a:solidFill>
                <a:latin typeface="+mn-lt"/>
                <a:ea typeface="Ellab Sans" panose="02000503000000020004" pitchFamily="2" charset="0"/>
                <a:cs typeface="Ellab Sans" panose="02000503000000020004" pitchFamily="2" charset="0"/>
              </a:defRPr>
            </a:lvl3pPr>
            <a:lvl4pPr marL="13716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4pPr>
            <a:lvl5pPr marL="1828800" indent="0" algn="l" rtl="0" eaLnBrk="1" fontAlgn="base" hangingPunct="1">
              <a:lnSpc>
                <a:spcPct val="90000"/>
              </a:lnSpc>
              <a:spcBef>
                <a:spcPts val="500"/>
              </a:spcBef>
              <a:spcAft>
                <a:spcPct val="0"/>
              </a:spcAft>
              <a:buClr>
                <a:schemeClr val="accent1"/>
              </a:buClr>
              <a:buSzPct val="120000"/>
              <a:buFont typeface="Arial" panose="020B0604020202020204" pitchFamily="34" charset="0"/>
              <a:buNone/>
              <a:defRPr sz="1000" kern="1200">
                <a:solidFill>
                  <a:schemeClr val="tx2"/>
                </a:solidFill>
                <a:latin typeface="+mn-lt"/>
                <a:ea typeface="Ellab Sans" panose="02000503000000020004" pitchFamily="2" charset="0"/>
                <a:cs typeface="Ellab Sans" panose="02000503000000020004"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sz="1800" b="1" noProof="0" dirty="0"/>
              <a:t>System installation:</a:t>
            </a:r>
          </a:p>
          <a:p>
            <a:r>
              <a:rPr lang="en-US" sz="1800" noProof="0" dirty="0"/>
              <a:t>ValSuite Client („Fat-Client“)</a:t>
            </a:r>
          </a:p>
          <a:p>
            <a:endParaRPr lang="en-US" sz="1800" noProof="0" dirty="0"/>
          </a:p>
          <a:p>
            <a:r>
              <a:rPr lang="en-US" sz="1800" noProof="0" dirty="0"/>
              <a:t>	</a:t>
            </a:r>
            <a:endParaRPr lang="en-US" sz="1800" b="1" noProof="0" dirty="0"/>
          </a:p>
          <a:p>
            <a:r>
              <a:rPr lang="en-US" sz="1800" b="1" noProof="0" dirty="0"/>
              <a:t>Database</a:t>
            </a:r>
            <a:endParaRPr lang="en-US" sz="1800" noProof="0" dirty="0"/>
          </a:p>
          <a:p>
            <a:r>
              <a:rPr lang="en-US" sz="1800" noProof="0" dirty="0"/>
              <a:t>Database (Microsoft SQL-Server)</a:t>
            </a:r>
          </a:p>
        </p:txBody>
      </p:sp>
      <p:pic>
        <p:nvPicPr>
          <p:cNvPr id="12" name="Graphic 11" descr="Internet with solid fill">
            <a:extLst>
              <a:ext uri="{FF2B5EF4-FFF2-40B4-BE49-F238E27FC236}">
                <a16:creationId xmlns:a16="http://schemas.microsoft.com/office/drawing/2014/main" id="{0929647E-E61A-F113-D2AF-834C4CE090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89167" y="2602107"/>
            <a:ext cx="914400" cy="914400"/>
          </a:xfrm>
          <a:prstGeom prst="rect">
            <a:avLst/>
          </a:prstGeom>
        </p:spPr>
      </p:pic>
      <p:pic>
        <p:nvPicPr>
          <p:cNvPr id="13" name="Graphic 12" descr="Database with solid fill">
            <a:extLst>
              <a:ext uri="{FF2B5EF4-FFF2-40B4-BE49-F238E27FC236}">
                <a16:creationId xmlns:a16="http://schemas.microsoft.com/office/drawing/2014/main" id="{EF12CE0F-84B1-C310-1A7C-FC011E8CD4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61196" y="3558949"/>
            <a:ext cx="770342" cy="770342"/>
          </a:xfrm>
          <a:prstGeom prst="rect">
            <a:avLst/>
          </a:prstGeom>
        </p:spPr>
      </p:pic>
      <p:sp>
        <p:nvSpPr>
          <p:cNvPr id="16" name="TextBox 15">
            <a:extLst>
              <a:ext uri="{FF2B5EF4-FFF2-40B4-BE49-F238E27FC236}">
                <a16:creationId xmlns:a16="http://schemas.microsoft.com/office/drawing/2014/main" id="{D83D17AF-4AA1-BF21-669E-684EA4481999}"/>
              </a:ext>
            </a:extLst>
          </p:cNvPr>
          <p:cNvSpPr txBox="1"/>
          <p:nvPr/>
        </p:nvSpPr>
        <p:spPr>
          <a:xfrm>
            <a:off x="2245933" y="4998669"/>
            <a:ext cx="7070103" cy="923330"/>
          </a:xfrm>
          <a:prstGeom prst="rect">
            <a:avLst/>
          </a:prstGeom>
          <a:noFill/>
        </p:spPr>
        <p:txBody>
          <a:bodyPr wrap="square">
            <a:spAutoFit/>
          </a:bodyPr>
          <a:lstStyle/>
          <a:p>
            <a:pPr marL="0" indent="0">
              <a:buNone/>
            </a:pPr>
            <a:r>
              <a:rPr lang="en-US" i="1" noProof="0" dirty="0">
                <a:solidFill>
                  <a:schemeClr val="tx2"/>
                </a:solidFill>
                <a:latin typeface="Ellab Sans" panose="02000503000000020004" pitchFamily="2" charset="0"/>
              </a:rPr>
              <a:t>There are no additional components required</a:t>
            </a:r>
          </a:p>
          <a:p>
            <a:r>
              <a:rPr lang="en-US" i="1" noProof="0" dirty="0">
                <a:solidFill>
                  <a:schemeClr val="tx2"/>
                </a:solidFill>
                <a:latin typeface="Ellab Sans" panose="02000503000000020004" pitchFamily="2" charset="0"/>
              </a:rPr>
              <a:t>No application server</a:t>
            </a:r>
          </a:p>
          <a:p>
            <a:r>
              <a:rPr lang="en-US" i="1" noProof="0" dirty="0">
                <a:solidFill>
                  <a:schemeClr val="tx2"/>
                </a:solidFill>
                <a:latin typeface="Ellab Sans" panose="02000503000000020004" pitchFamily="2" charset="0"/>
              </a:rPr>
              <a:t>No services (besides SQL-Server)</a:t>
            </a:r>
          </a:p>
        </p:txBody>
      </p:sp>
      <p:sp>
        <p:nvSpPr>
          <p:cNvPr id="18" name="TextBox 17">
            <a:extLst>
              <a:ext uri="{FF2B5EF4-FFF2-40B4-BE49-F238E27FC236}">
                <a16:creationId xmlns:a16="http://schemas.microsoft.com/office/drawing/2014/main" id="{A26ABB2E-BEDA-340E-8C11-4F6E6F4486ED}"/>
              </a:ext>
            </a:extLst>
          </p:cNvPr>
          <p:cNvSpPr txBox="1"/>
          <p:nvPr/>
        </p:nvSpPr>
        <p:spPr>
          <a:xfrm>
            <a:off x="2245932" y="2026888"/>
            <a:ext cx="7070103" cy="369332"/>
          </a:xfrm>
          <a:prstGeom prst="rect">
            <a:avLst/>
          </a:prstGeom>
          <a:solidFill>
            <a:schemeClr val="tx2"/>
          </a:solidFill>
          <a:ln>
            <a:solidFill>
              <a:schemeClr val="tx2"/>
            </a:solidFill>
          </a:ln>
        </p:spPr>
        <p:txBody>
          <a:bodyPr wrap="square">
            <a:spAutoFit/>
          </a:bodyPr>
          <a:lstStyle/>
          <a:p>
            <a:pPr algn="ctr"/>
            <a:r>
              <a:rPr lang="en-US" b="1" noProof="0" dirty="0">
                <a:solidFill>
                  <a:schemeClr val="bg1"/>
                </a:solidFill>
                <a:latin typeface="Ellab Sans" panose="02000503000000020004" pitchFamily="2" charset="0"/>
              </a:rPr>
              <a:t>ValSuite consists of 2 components</a:t>
            </a:r>
          </a:p>
        </p:txBody>
      </p:sp>
    </p:spTree>
    <p:extLst>
      <p:ext uri="{BB962C8B-B14F-4D97-AF65-F5344CB8AC3E}">
        <p14:creationId xmlns:p14="http://schemas.microsoft.com/office/powerpoint/2010/main" val="3071733730"/>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2EDA10-9652-5D56-58AB-872A883F5BB9}"/>
            </a:ext>
          </a:extLst>
        </p:cNvPr>
        <p:cNvGrpSpPr/>
        <p:nvPr/>
      </p:nvGrpSpPr>
      <p:grpSpPr>
        <a:xfrm>
          <a:off x="0" y="0"/>
          <a:ext cx="0" cy="0"/>
          <a:chOff x="0" y="0"/>
          <a:chExt cx="0" cy="0"/>
        </a:xfrm>
      </p:grpSpPr>
      <p:sp>
        <p:nvSpPr>
          <p:cNvPr id="12" name="Oval 11">
            <a:extLst>
              <a:ext uri="{FF2B5EF4-FFF2-40B4-BE49-F238E27FC236}">
                <a16:creationId xmlns:a16="http://schemas.microsoft.com/office/drawing/2014/main" id="{E830A664-2EEA-C8C3-76CD-3342AAD556CF}"/>
              </a:ext>
            </a:extLst>
          </p:cNvPr>
          <p:cNvSpPr/>
          <p:nvPr/>
        </p:nvSpPr>
        <p:spPr>
          <a:xfrm>
            <a:off x="3562350" y="715704"/>
            <a:ext cx="11106176" cy="8116678"/>
          </a:xfrm>
          <a:prstGeom prst="ellipse">
            <a:avLst/>
          </a:prstGeom>
          <a:gradFill flip="none" rotWithShape="1">
            <a:gsLst>
              <a:gs pos="66000">
                <a:schemeClr val="accent1">
                  <a:lumMod val="5000"/>
                  <a:lumOff val="95000"/>
                  <a:alpha val="0"/>
                </a:schemeClr>
              </a:gs>
              <a:gs pos="0">
                <a:schemeClr val="accent1"/>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6E572D99-6047-604F-CA9E-2611D277192D}"/>
              </a:ext>
            </a:extLst>
          </p:cNvPr>
          <p:cNvSpPr/>
          <p:nvPr/>
        </p:nvSpPr>
        <p:spPr>
          <a:xfrm>
            <a:off x="546458" y="2550249"/>
            <a:ext cx="7827023" cy="2408249"/>
          </a:xfrm>
          <a:prstGeom prst="roundRect">
            <a:avLst>
              <a:gd name="adj" fmla="val 4406"/>
            </a:avLst>
          </a:prstGeom>
          <a:noFill/>
          <a:ln>
            <a:gradFill>
              <a:gsLst>
                <a:gs pos="0">
                  <a:schemeClr val="tx2"/>
                </a:gs>
                <a:gs pos="100000">
                  <a:schemeClr val="accent1"/>
                </a:gs>
              </a:gsLst>
              <a:lin ang="54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Content Placeholder 1">
            <a:extLst>
              <a:ext uri="{FF2B5EF4-FFF2-40B4-BE49-F238E27FC236}">
                <a16:creationId xmlns:a16="http://schemas.microsoft.com/office/drawing/2014/main" id="{D2F40D7B-48AE-79B3-C06F-DA431C27D01C}"/>
              </a:ext>
            </a:extLst>
          </p:cNvPr>
          <p:cNvSpPr>
            <a:spLocks noGrp="1"/>
          </p:cNvSpPr>
          <p:nvPr>
            <p:ph type="body" sz="half" idx="10"/>
          </p:nvPr>
        </p:nvSpPr>
        <p:spPr>
          <a:xfrm>
            <a:off x="1892830" y="1931448"/>
            <a:ext cx="5262714" cy="3645850"/>
          </a:xfrm>
        </p:spPr>
        <p:txBody>
          <a:bodyPr lIns="36000" tIns="36000" rIns="36000" bIns="36000" anchor="ctr">
            <a:normAutofit/>
          </a:bodyPr>
          <a:lstStyle/>
          <a:p>
            <a:pPr marL="0" indent="0">
              <a:spcBef>
                <a:spcPts val="600"/>
              </a:spcBef>
              <a:buNone/>
            </a:pPr>
            <a:r>
              <a:rPr lang="en-US" sz="1800" b="1" noProof="0" dirty="0"/>
              <a:t>System installation:</a:t>
            </a:r>
          </a:p>
          <a:p>
            <a:pPr marL="0" indent="0">
              <a:spcBef>
                <a:spcPts val="600"/>
              </a:spcBef>
              <a:buNone/>
            </a:pPr>
            <a:r>
              <a:rPr lang="en-US" sz="1800" noProof="0" dirty="0"/>
              <a:t>ValSuite and Database on the same device</a:t>
            </a:r>
          </a:p>
          <a:p>
            <a:pPr marL="0" indent="0">
              <a:spcBef>
                <a:spcPts val="600"/>
              </a:spcBef>
              <a:buNone/>
            </a:pPr>
            <a:r>
              <a:rPr lang="en-US" sz="1800" noProof="0" dirty="0"/>
              <a:t>	</a:t>
            </a:r>
            <a:endParaRPr lang="en-US" sz="1800" b="1" noProof="0" dirty="0"/>
          </a:p>
          <a:p>
            <a:pPr marL="0" indent="0">
              <a:spcBef>
                <a:spcPts val="600"/>
              </a:spcBef>
              <a:buNone/>
            </a:pPr>
            <a:r>
              <a:rPr lang="en-US" sz="1800" b="1" noProof="0" dirty="0"/>
              <a:t>Database backup</a:t>
            </a:r>
            <a:r>
              <a:rPr lang="en-US" sz="1800" noProof="0" dirty="0"/>
              <a:t> </a:t>
            </a:r>
          </a:p>
          <a:p>
            <a:pPr marL="285750" indent="-285750">
              <a:spcBef>
                <a:spcPts val="600"/>
              </a:spcBef>
              <a:buFont typeface="Arial" panose="020B0604020202020204" pitchFamily="34" charset="0"/>
              <a:buChar char="•"/>
            </a:pPr>
            <a:r>
              <a:rPr lang="en-US" sz="1800" noProof="0" dirty="0"/>
              <a:t>Fully automated per backup job</a:t>
            </a:r>
            <a:br>
              <a:rPr lang="en-US" sz="1800" noProof="0" dirty="0"/>
            </a:br>
            <a:r>
              <a:rPr lang="en-US" sz="1800" noProof="0" dirty="0"/>
              <a:t>(Database Backup-plan)</a:t>
            </a:r>
          </a:p>
          <a:p>
            <a:pPr marL="285750" indent="-285750">
              <a:spcBef>
                <a:spcPts val="600"/>
              </a:spcBef>
              <a:buFont typeface="Arial" panose="020B0604020202020204" pitchFamily="34" charset="0"/>
              <a:buChar char="•"/>
            </a:pPr>
            <a:r>
              <a:rPr lang="en-US" sz="1800" noProof="0" dirty="0"/>
              <a:t>Manually on demand, e.g. USB drive</a:t>
            </a:r>
          </a:p>
        </p:txBody>
      </p:sp>
      <p:sp>
        <p:nvSpPr>
          <p:cNvPr id="3" name="Titel 2">
            <a:extLst>
              <a:ext uri="{FF2B5EF4-FFF2-40B4-BE49-F238E27FC236}">
                <a16:creationId xmlns:a16="http://schemas.microsoft.com/office/drawing/2014/main" id="{43D35189-0D75-006D-6971-90C4C5C74332}"/>
              </a:ext>
            </a:extLst>
          </p:cNvPr>
          <p:cNvSpPr>
            <a:spLocks noGrp="1"/>
          </p:cNvSpPr>
          <p:nvPr>
            <p:ph type="title"/>
          </p:nvPr>
        </p:nvSpPr>
        <p:spPr/>
        <p:txBody>
          <a:bodyPr/>
          <a:lstStyle/>
          <a:p>
            <a:r>
              <a:rPr lang="en-US" noProof="0" dirty="0">
                <a:latin typeface="+mj-lt"/>
              </a:rPr>
              <a:t>Default Installation - Local</a:t>
            </a:r>
            <a:endParaRPr lang="en-US" noProof="0" dirty="0"/>
          </a:p>
        </p:txBody>
      </p:sp>
      <p:sp>
        <p:nvSpPr>
          <p:cNvPr id="7" name="Text Placeholder 6">
            <a:extLst>
              <a:ext uri="{FF2B5EF4-FFF2-40B4-BE49-F238E27FC236}">
                <a16:creationId xmlns:a16="http://schemas.microsoft.com/office/drawing/2014/main" id="{60E7553F-DC50-6C5C-E166-A61316622584}"/>
              </a:ext>
            </a:extLst>
          </p:cNvPr>
          <p:cNvSpPr>
            <a:spLocks noGrp="1"/>
          </p:cNvSpPr>
          <p:nvPr>
            <p:ph type="body" sz="half" idx="2"/>
          </p:nvPr>
        </p:nvSpPr>
        <p:spPr/>
        <p:txBody>
          <a:bodyPr/>
          <a:lstStyle/>
          <a:p>
            <a:r>
              <a:rPr lang="en-US" noProof="0" dirty="0"/>
              <a:t>Each computer has </a:t>
            </a:r>
            <a:r>
              <a:rPr lang="en-US" dirty="0"/>
              <a:t>V</a:t>
            </a:r>
            <a:r>
              <a:rPr lang="en-US" noProof="0" dirty="0" err="1"/>
              <a:t>alSuite</a:t>
            </a:r>
            <a:r>
              <a:rPr lang="en-US" noProof="0" dirty="0"/>
              <a:t> installed </a:t>
            </a:r>
          </a:p>
        </p:txBody>
      </p:sp>
      <p:pic>
        <p:nvPicPr>
          <p:cNvPr id="11" name="Graphic 10" descr="Internet with solid fill">
            <a:extLst>
              <a:ext uri="{FF2B5EF4-FFF2-40B4-BE49-F238E27FC236}">
                <a16:creationId xmlns:a16="http://schemas.microsoft.com/office/drawing/2014/main" id="{5D532436-FCD8-BFBB-7688-66A8EB2B22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9691" y="2748213"/>
            <a:ext cx="914400" cy="914400"/>
          </a:xfrm>
          <a:prstGeom prst="rect">
            <a:avLst/>
          </a:prstGeom>
        </p:spPr>
      </p:pic>
      <p:pic>
        <p:nvPicPr>
          <p:cNvPr id="13" name="Graphic 12" descr="Database with solid fill">
            <a:extLst>
              <a:ext uri="{FF2B5EF4-FFF2-40B4-BE49-F238E27FC236}">
                <a16:creationId xmlns:a16="http://schemas.microsoft.com/office/drawing/2014/main" id="{DA9EB561-C7C8-4065-D239-B8C7E029D9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1720" y="3705055"/>
            <a:ext cx="770342" cy="770342"/>
          </a:xfrm>
          <a:prstGeom prst="rect">
            <a:avLst/>
          </a:prstGeom>
        </p:spPr>
      </p:pic>
      <p:grpSp>
        <p:nvGrpSpPr>
          <p:cNvPr id="5" name="Group 4">
            <a:extLst>
              <a:ext uri="{FF2B5EF4-FFF2-40B4-BE49-F238E27FC236}">
                <a16:creationId xmlns:a16="http://schemas.microsoft.com/office/drawing/2014/main" id="{28840F86-2B2D-90E4-9970-3EF8A40C5CDA}"/>
              </a:ext>
            </a:extLst>
          </p:cNvPr>
          <p:cNvGrpSpPr>
            <a:grpSpLocks noGrp="1" noUngrp="1" noRot="1" noMove="1" noResize="1"/>
          </p:cNvGrpSpPr>
          <p:nvPr/>
        </p:nvGrpSpPr>
        <p:grpSpPr>
          <a:xfrm>
            <a:off x="4848829" y="1075610"/>
            <a:ext cx="8798278" cy="6029232"/>
            <a:chOff x="1694420" y="4001191"/>
            <a:chExt cx="1819815" cy="1247072"/>
          </a:xfrm>
        </p:grpSpPr>
        <p:pic>
          <p:nvPicPr>
            <p:cNvPr id="6" name="Picture 5" descr="A computer with a check mark on the screen&#10;&#10;AI-generated content may be incorrect.">
              <a:extLst>
                <a:ext uri="{FF2B5EF4-FFF2-40B4-BE49-F238E27FC236}">
                  <a16:creationId xmlns:a16="http://schemas.microsoft.com/office/drawing/2014/main" id="{2F3C8F7D-7DD3-C72D-0291-613677062C49}"/>
                </a:ext>
              </a:extLst>
            </p:cNvPr>
            <p:cNvPicPr>
              <a:picLocks noGrp="1" noRot="1" noChangeAspect="1" noMove="1" noResize="1" noEditPoints="1" noAdjustHandles="1" noChangeArrowheads="1" noChangeShapeType="1" noCrop="1"/>
            </p:cNvPicPr>
            <p:nvPr/>
          </p:nvPicPr>
          <p:blipFill>
            <a:blip r:embed="rId6"/>
            <a:stretch>
              <a:fillRect/>
            </a:stretch>
          </p:blipFill>
          <p:spPr>
            <a:xfrm>
              <a:off x="1694420" y="4001191"/>
              <a:ext cx="1819815" cy="1247072"/>
            </a:xfrm>
            <a:prstGeom prst="rect">
              <a:avLst/>
            </a:prstGeom>
          </p:spPr>
        </p:pic>
        <p:pic>
          <p:nvPicPr>
            <p:cNvPr id="8" name="Graphic 7" descr="Database with solid fill">
              <a:extLst>
                <a:ext uri="{FF2B5EF4-FFF2-40B4-BE49-F238E27FC236}">
                  <a16:creationId xmlns:a16="http://schemas.microsoft.com/office/drawing/2014/main" id="{D4DA5D2C-290D-5801-C602-2C82A853C35C}"/>
                </a:ext>
              </a:extLst>
            </p:cNvPr>
            <p:cNvPicPr>
              <a:picLocks noGrp="1" noRot="1" noChangeAspect="1" noMove="1" noResize="1" noEditPoints="1" noAdjustHandles="1" noChangeArrowheads="1" noChangeShapeType="1" noCrop="1"/>
            </p:cNvPicPr>
            <p:nvPr/>
          </p:nvPicPr>
          <p:blipFill>
            <a:blip r:embed="rId7">
              <a:extLst>
                <a:ext uri="{96DAC541-7B7A-43D3-8B79-37D633B846F1}">
                  <asvg:svgBlip xmlns:asvg="http://schemas.microsoft.com/office/drawing/2016/SVG/main" r:embed="rId8"/>
                </a:ext>
              </a:extLst>
            </a:blip>
            <a:stretch>
              <a:fillRect/>
            </a:stretch>
          </p:blipFill>
          <p:spPr>
            <a:xfrm rot="566317">
              <a:off x="2750339" y="4341018"/>
              <a:ext cx="339156" cy="339156"/>
            </a:xfrm>
            <a:prstGeom prst="rect">
              <a:avLst/>
            </a:prstGeom>
          </p:spPr>
        </p:pic>
      </p:grpSp>
    </p:spTree>
    <p:extLst>
      <p:ext uri="{BB962C8B-B14F-4D97-AF65-F5344CB8AC3E}">
        <p14:creationId xmlns:p14="http://schemas.microsoft.com/office/powerpoint/2010/main" val="36295728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072CB-19E8-DB47-89C2-8F6A8652DB51}"/>
            </a:ext>
          </a:extLst>
        </p:cNvPr>
        <p:cNvGrpSpPr/>
        <p:nvPr/>
      </p:nvGrpSpPr>
      <p:grpSpPr>
        <a:xfrm>
          <a:off x="0" y="0"/>
          <a:ext cx="0" cy="0"/>
          <a:chOff x="0" y="0"/>
          <a:chExt cx="0" cy="0"/>
        </a:xfrm>
      </p:grpSpPr>
      <p:sp>
        <p:nvSpPr>
          <p:cNvPr id="40" name="Rectangle: Rounded Corners 39">
            <a:extLst>
              <a:ext uri="{FF2B5EF4-FFF2-40B4-BE49-F238E27FC236}">
                <a16:creationId xmlns:a16="http://schemas.microsoft.com/office/drawing/2014/main" id="{4EBC21D2-B521-D73F-15A5-E825AC6ED92A}"/>
              </a:ext>
            </a:extLst>
          </p:cNvPr>
          <p:cNvSpPr/>
          <p:nvPr/>
        </p:nvSpPr>
        <p:spPr>
          <a:xfrm>
            <a:off x="294374" y="2616813"/>
            <a:ext cx="7103337" cy="2408249"/>
          </a:xfrm>
          <a:prstGeom prst="roundRect">
            <a:avLst>
              <a:gd name="adj" fmla="val 5819"/>
            </a:avLst>
          </a:prstGeom>
          <a:solidFill>
            <a:schemeClr val="bg1"/>
          </a:solidFill>
          <a:ln>
            <a:solidFill>
              <a:schemeClr val="accent4"/>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24" name="Picture 23" descr="A blue circle with black background&#10;&#10;AI-generated content may be incorrect.">
            <a:extLst>
              <a:ext uri="{FF2B5EF4-FFF2-40B4-BE49-F238E27FC236}">
                <a16:creationId xmlns:a16="http://schemas.microsoft.com/office/drawing/2014/main" id="{741A414B-71DE-F67B-91B7-60D8F9999F17}"/>
              </a:ext>
            </a:extLst>
          </p:cNvPr>
          <p:cNvPicPr>
            <a:picLocks noGrp="1" noRot="1" noChangeAspect="1" noMove="1" noResize="1" noEditPoints="1" noAdjustHandles="1" noChangeArrowheads="1" noChangeShapeType="1" noCrop="1"/>
          </p:cNvPicPr>
          <p:nvPr/>
        </p:nvPicPr>
        <p:blipFill>
          <a:blip r:embed="rId2"/>
          <a:srcRect r="52468" b="18088"/>
          <a:stretch>
            <a:fillRect/>
          </a:stretch>
        </p:blipFill>
        <p:spPr>
          <a:xfrm>
            <a:off x="7135980" y="488308"/>
            <a:ext cx="5056020" cy="6369692"/>
          </a:xfrm>
          <a:prstGeom prst="rect">
            <a:avLst/>
          </a:prstGeom>
        </p:spPr>
      </p:pic>
      <p:sp>
        <p:nvSpPr>
          <p:cNvPr id="41" name="Content Placeholder 1">
            <a:extLst>
              <a:ext uri="{FF2B5EF4-FFF2-40B4-BE49-F238E27FC236}">
                <a16:creationId xmlns:a16="http://schemas.microsoft.com/office/drawing/2014/main" id="{421899F8-0135-B0E7-11F1-A531E925C6AD}"/>
              </a:ext>
            </a:extLst>
          </p:cNvPr>
          <p:cNvSpPr>
            <a:spLocks noGrp="1"/>
          </p:cNvSpPr>
          <p:nvPr>
            <p:ph type="body" sz="half" idx="10"/>
          </p:nvPr>
        </p:nvSpPr>
        <p:spPr>
          <a:xfrm>
            <a:off x="1748503" y="2550873"/>
            <a:ext cx="4597297" cy="2408249"/>
          </a:xfrm>
        </p:spPr>
        <p:txBody>
          <a:bodyPr lIns="36000" tIns="36000" rIns="36000" bIns="36000" anchor="ctr">
            <a:normAutofit/>
          </a:bodyPr>
          <a:lstStyle/>
          <a:p>
            <a:pPr marL="0" indent="0">
              <a:buNone/>
            </a:pPr>
            <a:r>
              <a:rPr lang="en-US" sz="1800" b="1" noProof="0" dirty="0"/>
              <a:t>System installation:</a:t>
            </a:r>
          </a:p>
          <a:p>
            <a:r>
              <a:rPr lang="en-US" sz="1800" b="0" noProof="0" dirty="0"/>
              <a:t>ValSuite Client running on client PCs</a:t>
            </a:r>
          </a:p>
          <a:p>
            <a:pPr marL="0" indent="0">
              <a:buNone/>
            </a:pPr>
            <a:endParaRPr lang="en-US" sz="1800" noProof="0" dirty="0"/>
          </a:p>
          <a:p>
            <a:pPr marL="0" indent="0">
              <a:buNone/>
            </a:pPr>
            <a:r>
              <a:rPr lang="en-US" sz="1800" noProof="0" dirty="0"/>
              <a:t>	</a:t>
            </a:r>
            <a:endParaRPr lang="en-US" sz="1800" b="1" noProof="0" dirty="0"/>
          </a:p>
          <a:p>
            <a:pPr marL="0" indent="0">
              <a:buNone/>
            </a:pPr>
            <a:r>
              <a:rPr lang="en-US" sz="1800" b="1" noProof="0" dirty="0"/>
              <a:t>Database backup</a:t>
            </a:r>
            <a:r>
              <a:rPr lang="en-US" sz="1800" noProof="0" dirty="0"/>
              <a:t> </a:t>
            </a:r>
          </a:p>
          <a:p>
            <a:r>
              <a:rPr lang="en-US" sz="1800" b="0" noProof="0" dirty="0"/>
              <a:t>On Server</a:t>
            </a:r>
          </a:p>
        </p:txBody>
      </p:sp>
      <p:sp>
        <p:nvSpPr>
          <p:cNvPr id="3" name="Titel 2">
            <a:extLst>
              <a:ext uri="{FF2B5EF4-FFF2-40B4-BE49-F238E27FC236}">
                <a16:creationId xmlns:a16="http://schemas.microsoft.com/office/drawing/2014/main" id="{3B066309-ED67-51A9-741B-03E8166BCF84}"/>
              </a:ext>
            </a:extLst>
          </p:cNvPr>
          <p:cNvSpPr>
            <a:spLocks noGrp="1"/>
          </p:cNvSpPr>
          <p:nvPr>
            <p:ph type="title"/>
          </p:nvPr>
        </p:nvSpPr>
        <p:spPr/>
        <p:txBody>
          <a:bodyPr/>
          <a:lstStyle/>
          <a:p>
            <a:r>
              <a:rPr lang="en-US" noProof="0" dirty="0"/>
              <a:t>Server-Client Installation</a:t>
            </a:r>
          </a:p>
        </p:txBody>
      </p:sp>
      <p:sp>
        <p:nvSpPr>
          <p:cNvPr id="2" name="Text Placeholder 1">
            <a:extLst>
              <a:ext uri="{FF2B5EF4-FFF2-40B4-BE49-F238E27FC236}">
                <a16:creationId xmlns:a16="http://schemas.microsoft.com/office/drawing/2014/main" id="{25CCB90D-1B4B-C2ED-27FF-4A963CB38243}"/>
              </a:ext>
            </a:extLst>
          </p:cNvPr>
          <p:cNvSpPr>
            <a:spLocks noGrp="1"/>
          </p:cNvSpPr>
          <p:nvPr>
            <p:ph type="body" sz="half" idx="2"/>
          </p:nvPr>
        </p:nvSpPr>
        <p:spPr/>
        <p:txBody>
          <a:bodyPr/>
          <a:lstStyle/>
          <a:p>
            <a:endParaRPr lang="en-US" noProof="0" dirty="0"/>
          </a:p>
        </p:txBody>
      </p:sp>
      <p:pic>
        <p:nvPicPr>
          <p:cNvPr id="42" name="Graphic 41" descr="Internet with solid fill">
            <a:extLst>
              <a:ext uri="{FF2B5EF4-FFF2-40B4-BE49-F238E27FC236}">
                <a16:creationId xmlns:a16="http://schemas.microsoft.com/office/drawing/2014/main" id="{D6D100F3-92CF-E207-975D-A76433630D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7607" y="2814777"/>
            <a:ext cx="914400" cy="914400"/>
          </a:xfrm>
          <a:prstGeom prst="rect">
            <a:avLst/>
          </a:prstGeom>
        </p:spPr>
      </p:pic>
      <p:pic>
        <p:nvPicPr>
          <p:cNvPr id="43" name="Graphic 42" descr="Database with solid fill">
            <a:extLst>
              <a:ext uri="{FF2B5EF4-FFF2-40B4-BE49-F238E27FC236}">
                <a16:creationId xmlns:a16="http://schemas.microsoft.com/office/drawing/2014/main" id="{AEB420A1-5B8E-B7C5-D06C-397E2910A2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9636" y="3771619"/>
            <a:ext cx="770342" cy="770342"/>
          </a:xfrm>
          <a:prstGeom prst="rect">
            <a:avLst/>
          </a:prstGeom>
        </p:spPr>
      </p:pic>
      <p:pic>
        <p:nvPicPr>
          <p:cNvPr id="4" name="Picture 3" descr="A computer with a keyboard and mouse&#10;&#10;AI-generated content may be incorrect.">
            <a:extLst>
              <a:ext uri="{FF2B5EF4-FFF2-40B4-BE49-F238E27FC236}">
                <a16:creationId xmlns:a16="http://schemas.microsoft.com/office/drawing/2014/main" id="{7CF22892-A213-5475-52AF-4F73B82626A4}"/>
              </a:ext>
            </a:extLst>
          </p:cNvPr>
          <p:cNvPicPr>
            <a:picLocks noChangeAspect="1"/>
          </p:cNvPicPr>
          <p:nvPr/>
        </p:nvPicPr>
        <p:blipFill>
          <a:blip r:embed="rId7"/>
          <a:srcRect l="63681"/>
          <a:stretch>
            <a:fillRect/>
          </a:stretch>
        </p:blipFill>
        <p:spPr>
          <a:xfrm>
            <a:off x="6761454" y="2616813"/>
            <a:ext cx="1555885" cy="1955751"/>
          </a:xfrm>
          <a:prstGeom prst="rect">
            <a:avLst/>
          </a:prstGeom>
        </p:spPr>
      </p:pic>
      <p:pic>
        <p:nvPicPr>
          <p:cNvPr id="6" name="Graphic 5" descr="Database with solid fill">
            <a:extLst>
              <a:ext uri="{FF2B5EF4-FFF2-40B4-BE49-F238E27FC236}">
                <a16:creationId xmlns:a16="http://schemas.microsoft.com/office/drawing/2014/main" id="{106E62D8-79A3-C03D-A449-619A7CA217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63599" y="3630080"/>
            <a:ext cx="1055371" cy="1055371"/>
          </a:xfrm>
          <a:prstGeom prst="rect">
            <a:avLst/>
          </a:prstGeom>
        </p:spPr>
      </p:pic>
      <p:cxnSp>
        <p:nvCxnSpPr>
          <p:cNvPr id="7" name="Straight Arrow Connector 6">
            <a:extLst>
              <a:ext uri="{FF2B5EF4-FFF2-40B4-BE49-F238E27FC236}">
                <a16:creationId xmlns:a16="http://schemas.microsoft.com/office/drawing/2014/main" id="{380CDFCA-C8A3-9085-930E-64181559682A}"/>
              </a:ext>
            </a:extLst>
          </p:cNvPr>
          <p:cNvCxnSpPr/>
          <p:nvPr/>
        </p:nvCxnSpPr>
        <p:spPr>
          <a:xfrm flipH="1">
            <a:off x="7866130" y="2414926"/>
            <a:ext cx="1388746" cy="5654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6780A541-D49E-3623-5865-2E1F694530D8}"/>
              </a:ext>
            </a:extLst>
          </p:cNvPr>
          <p:cNvCxnSpPr>
            <a:cxnSpLocks/>
          </p:cNvCxnSpPr>
          <p:nvPr/>
        </p:nvCxnSpPr>
        <p:spPr>
          <a:xfrm flipH="1">
            <a:off x="7913750" y="3594689"/>
            <a:ext cx="123182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39462A9B-5F70-AAB0-167A-8CBD6F50E5F5}"/>
              </a:ext>
            </a:extLst>
          </p:cNvPr>
          <p:cNvCxnSpPr>
            <a:cxnSpLocks/>
          </p:cNvCxnSpPr>
          <p:nvPr/>
        </p:nvCxnSpPr>
        <p:spPr>
          <a:xfrm flipH="1" flipV="1">
            <a:off x="7813365" y="4113682"/>
            <a:ext cx="1165120" cy="5383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10" name="Group 9">
            <a:extLst>
              <a:ext uri="{FF2B5EF4-FFF2-40B4-BE49-F238E27FC236}">
                <a16:creationId xmlns:a16="http://schemas.microsoft.com/office/drawing/2014/main" id="{D3C3199A-4CB3-AFFC-8818-65606F561972}"/>
              </a:ext>
            </a:extLst>
          </p:cNvPr>
          <p:cNvGrpSpPr/>
          <p:nvPr/>
        </p:nvGrpSpPr>
        <p:grpSpPr>
          <a:xfrm>
            <a:off x="8320225" y="1614322"/>
            <a:ext cx="3121159" cy="1424943"/>
            <a:chOff x="6957235" y="2942529"/>
            <a:chExt cx="3121159" cy="1424943"/>
          </a:xfrm>
        </p:grpSpPr>
        <p:pic>
          <p:nvPicPr>
            <p:cNvPr id="11" name="Picture 10" descr="A computer with a keyboard and mouse&#10;&#10;AI-generated content may be incorrect.">
              <a:extLst>
                <a:ext uri="{FF2B5EF4-FFF2-40B4-BE49-F238E27FC236}">
                  <a16:creationId xmlns:a16="http://schemas.microsoft.com/office/drawing/2014/main" id="{BACD6763-22E5-25F2-1314-C264A7C4DCB8}"/>
                </a:ext>
              </a:extLst>
            </p:cNvPr>
            <p:cNvPicPr>
              <a:picLocks noChangeAspect="1"/>
            </p:cNvPicPr>
            <p:nvPr/>
          </p:nvPicPr>
          <p:blipFill>
            <a:blip r:embed="rId7"/>
            <a:stretch>
              <a:fillRect/>
            </a:stretch>
          </p:blipFill>
          <p:spPr>
            <a:xfrm>
              <a:off x="6957235" y="2942529"/>
              <a:ext cx="3121159" cy="1424943"/>
            </a:xfrm>
            <a:prstGeom prst="rect">
              <a:avLst/>
            </a:prstGeom>
          </p:spPr>
        </p:pic>
        <p:pic>
          <p:nvPicPr>
            <p:cNvPr id="12" name="Graphic 11">
              <a:extLst>
                <a:ext uri="{FF2B5EF4-FFF2-40B4-BE49-F238E27FC236}">
                  <a16:creationId xmlns:a16="http://schemas.microsoft.com/office/drawing/2014/main" id="{762F9A07-EB72-4B5D-17CD-35A4FC2690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435755">
              <a:off x="7864076" y="3135017"/>
              <a:ext cx="489585" cy="489585"/>
            </a:xfrm>
            <a:prstGeom prst="rect">
              <a:avLst/>
            </a:prstGeom>
          </p:spPr>
        </p:pic>
      </p:grpSp>
      <p:grpSp>
        <p:nvGrpSpPr>
          <p:cNvPr id="13" name="Group 12">
            <a:extLst>
              <a:ext uri="{FF2B5EF4-FFF2-40B4-BE49-F238E27FC236}">
                <a16:creationId xmlns:a16="http://schemas.microsoft.com/office/drawing/2014/main" id="{2A9B0C08-3E55-3776-2524-0D2511C2CF89}"/>
              </a:ext>
            </a:extLst>
          </p:cNvPr>
          <p:cNvGrpSpPr/>
          <p:nvPr/>
        </p:nvGrpSpPr>
        <p:grpSpPr>
          <a:xfrm>
            <a:off x="8340476" y="2985426"/>
            <a:ext cx="3121159" cy="1424943"/>
            <a:chOff x="6957235" y="2942529"/>
            <a:chExt cx="3121159" cy="1424943"/>
          </a:xfrm>
        </p:grpSpPr>
        <p:pic>
          <p:nvPicPr>
            <p:cNvPr id="14" name="Picture 13" descr="A computer with a keyboard and mouse&#10;&#10;AI-generated content may be incorrect.">
              <a:extLst>
                <a:ext uri="{FF2B5EF4-FFF2-40B4-BE49-F238E27FC236}">
                  <a16:creationId xmlns:a16="http://schemas.microsoft.com/office/drawing/2014/main" id="{7BE20327-27AC-FFC2-5128-D365EEE0F1C6}"/>
                </a:ext>
              </a:extLst>
            </p:cNvPr>
            <p:cNvPicPr>
              <a:picLocks noChangeAspect="1"/>
            </p:cNvPicPr>
            <p:nvPr/>
          </p:nvPicPr>
          <p:blipFill>
            <a:blip r:embed="rId7"/>
            <a:stretch>
              <a:fillRect/>
            </a:stretch>
          </p:blipFill>
          <p:spPr>
            <a:xfrm>
              <a:off x="6957235" y="2942529"/>
              <a:ext cx="3121159" cy="1424943"/>
            </a:xfrm>
            <a:prstGeom prst="rect">
              <a:avLst/>
            </a:prstGeom>
          </p:spPr>
        </p:pic>
        <p:pic>
          <p:nvPicPr>
            <p:cNvPr id="15" name="Graphic 14">
              <a:extLst>
                <a:ext uri="{FF2B5EF4-FFF2-40B4-BE49-F238E27FC236}">
                  <a16:creationId xmlns:a16="http://schemas.microsoft.com/office/drawing/2014/main" id="{242A04AA-39D9-BF0D-1DFC-CE81A044AB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435755">
              <a:off x="7864076" y="3135017"/>
              <a:ext cx="489585" cy="489585"/>
            </a:xfrm>
            <a:prstGeom prst="rect">
              <a:avLst/>
            </a:prstGeom>
          </p:spPr>
        </p:pic>
      </p:grpSp>
      <p:grpSp>
        <p:nvGrpSpPr>
          <p:cNvPr id="16" name="Group 15">
            <a:extLst>
              <a:ext uri="{FF2B5EF4-FFF2-40B4-BE49-F238E27FC236}">
                <a16:creationId xmlns:a16="http://schemas.microsoft.com/office/drawing/2014/main" id="{2D3D3330-66C4-E770-77E3-1F275AB08F57}"/>
              </a:ext>
            </a:extLst>
          </p:cNvPr>
          <p:cNvGrpSpPr/>
          <p:nvPr/>
        </p:nvGrpSpPr>
        <p:grpSpPr>
          <a:xfrm>
            <a:off x="8320225" y="4376408"/>
            <a:ext cx="3121159" cy="1424943"/>
            <a:chOff x="6957235" y="2942529"/>
            <a:chExt cx="3121159" cy="1424943"/>
          </a:xfrm>
        </p:grpSpPr>
        <p:pic>
          <p:nvPicPr>
            <p:cNvPr id="17" name="Picture 16" descr="A computer with a keyboard and mouse&#10;&#10;AI-generated content may be incorrect.">
              <a:extLst>
                <a:ext uri="{FF2B5EF4-FFF2-40B4-BE49-F238E27FC236}">
                  <a16:creationId xmlns:a16="http://schemas.microsoft.com/office/drawing/2014/main" id="{15B0F78B-5EFB-AB8E-B613-193AA712A671}"/>
                </a:ext>
              </a:extLst>
            </p:cNvPr>
            <p:cNvPicPr>
              <a:picLocks noChangeAspect="1"/>
            </p:cNvPicPr>
            <p:nvPr/>
          </p:nvPicPr>
          <p:blipFill>
            <a:blip r:embed="rId7"/>
            <a:stretch>
              <a:fillRect/>
            </a:stretch>
          </p:blipFill>
          <p:spPr>
            <a:xfrm>
              <a:off x="6957235" y="2942529"/>
              <a:ext cx="3121159" cy="1424943"/>
            </a:xfrm>
            <a:prstGeom prst="rect">
              <a:avLst/>
            </a:prstGeom>
          </p:spPr>
        </p:pic>
        <p:pic>
          <p:nvPicPr>
            <p:cNvPr id="18" name="Graphic 17">
              <a:extLst>
                <a:ext uri="{FF2B5EF4-FFF2-40B4-BE49-F238E27FC236}">
                  <a16:creationId xmlns:a16="http://schemas.microsoft.com/office/drawing/2014/main" id="{F7630324-B1C9-D656-B59D-78E30D850C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435755">
              <a:off x="7864076" y="3135017"/>
              <a:ext cx="489585" cy="489585"/>
            </a:xfrm>
            <a:prstGeom prst="rect">
              <a:avLst/>
            </a:prstGeom>
          </p:spPr>
        </p:pic>
      </p:grpSp>
    </p:spTree>
    <p:extLst>
      <p:ext uri="{BB962C8B-B14F-4D97-AF65-F5344CB8AC3E}">
        <p14:creationId xmlns:p14="http://schemas.microsoft.com/office/powerpoint/2010/main" val="14098575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12769-E7ED-47A9-72A0-BF539EE36E15}"/>
            </a:ext>
          </a:extLst>
        </p:cNvPr>
        <p:cNvGrpSpPr/>
        <p:nvPr/>
      </p:nvGrpSpPr>
      <p:grpSpPr>
        <a:xfrm>
          <a:off x="0" y="0"/>
          <a:ext cx="0" cy="0"/>
          <a:chOff x="0" y="0"/>
          <a:chExt cx="0" cy="0"/>
        </a:xfrm>
      </p:grpSpPr>
      <p:pic>
        <p:nvPicPr>
          <p:cNvPr id="26" name="Picture 25" descr="A blue circle with black background&#10;&#10;AI-generated content may be incorrect.">
            <a:extLst>
              <a:ext uri="{FF2B5EF4-FFF2-40B4-BE49-F238E27FC236}">
                <a16:creationId xmlns:a16="http://schemas.microsoft.com/office/drawing/2014/main" id="{E530B3DB-0DC6-C54B-7AE3-2B8BB8DC3923}"/>
              </a:ext>
            </a:extLst>
          </p:cNvPr>
          <p:cNvPicPr>
            <a:picLocks noGrp="1" noRot="1" noChangeAspect="1" noMove="1" noResize="1" noEditPoints="1" noAdjustHandles="1" noChangeArrowheads="1" noChangeShapeType="1" noCrop="1"/>
          </p:cNvPicPr>
          <p:nvPr/>
        </p:nvPicPr>
        <p:blipFill>
          <a:blip r:embed="rId2"/>
          <a:srcRect r="52468" b="18088"/>
          <a:stretch>
            <a:fillRect/>
          </a:stretch>
        </p:blipFill>
        <p:spPr>
          <a:xfrm flipH="1">
            <a:off x="-5885" y="533065"/>
            <a:ext cx="5367797" cy="6369692"/>
          </a:xfrm>
          <a:prstGeom prst="rect">
            <a:avLst/>
          </a:prstGeom>
        </p:spPr>
      </p:pic>
      <p:sp>
        <p:nvSpPr>
          <p:cNvPr id="3" name="Titel 2">
            <a:extLst>
              <a:ext uri="{FF2B5EF4-FFF2-40B4-BE49-F238E27FC236}">
                <a16:creationId xmlns:a16="http://schemas.microsoft.com/office/drawing/2014/main" id="{A9832345-2D64-8246-B13F-9AB257AA6109}"/>
              </a:ext>
            </a:extLst>
          </p:cNvPr>
          <p:cNvSpPr>
            <a:spLocks noGrp="1"/>
          </p:cNvSpPr>
          <p:nvPr>
            <p:ph type="title"/>
          </p:nvPr>
        </p:nvSpPr>
        <p:spPr/>
        <p:txBody>
          <a:bodyPr/>
          <a:lstStyle/>
          <a:p>
            <a:r>
              <a:rPr lang="en-US" noProof="0" dirty="0"/>
              <a:t>Server-Portable-Client Installation</a:t>
            </a:r>
          </a:p>
        </p:txBody>
      </p:sp>
      <p:sp>
        <p:nvSpPr>
          <p:cNvPr id="8" name="Rectangle: Rounded Corners 7">
            <a:extLst>
              <a:ext uri="{FF2B5EF4-FFF2-40B4-BE49-F238E27FC236}">
                <a16:creationId xmlns:a16="http://schemas.microsoft.com/office/drawing/2014/main" id="{4A451E94-A4BF-CBAB-07B3-FB666FEC5A3D}"/>
              </a:ext>
            </a:extLst>
          </p:cNvPr>
          <p:cNvSpPr/>
          <p:nvPr/>
        </p:nvSpPr>
        <p:spPr>
          <a:xfrm>
            <a:off x="4509860" y="2620798"/>
            <a:ext cx="6965670" cy="2801740"/>
          </a:xfrm>
          <a:prstGeom prst="roundRect">
            <a:avLst>
              <a:gd name="adj" fmla="val 7024"/>
            </a:avLst>
          </a:prstGeom>
          <a:noFill/>
          <a:ln>
            <a:solidFill>
              <a:schemeClr val="accent4"/>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1" name="Graphic 10" descr="Internet with solid fill">
            <a:extLst>
              <a:ext uri="{FF2B5EF4-FFF2-40B4-BE49-F238E27FC236}">
                <a16:creationId xmlns:a16="http://schemas.microsoft.com/office/drawing/2014/main" id="{3CB265BA-A022-B554-44FB-DDD7FFFA7C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7083" y="2818762"/>
            <a:ext cx="914400" cy="914400"/>
          </a:xfrm>
          <a:prstGeom prst="rect">
            <a:avLst/>
          </a:prstGeom>
        </p:spPr>
      </p:pic>
      <p:pic>
        <p:nvPicPr>
          <p:cNvPr id="12" name="Graphic 11" descr="Database with solid fill">
            <a:extLst>
              <a:ext uri="{FF2B5EF4-FFF2-40B4-BE49-F238E27FC236}">
                <a16:creationId xmlns:a16="http://schemas.microsoft.com/office/drawing/2014/main" id="{ABD2C49C-5D77-E7C1-70D3-343800160D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9112" y="3775604"/>
            <a:ext cx="770342" cy="770342"/>
          </a:xfrm>
          <a:prstGeom prst="rect">
            <a:avLst/>
          </a:prstGeom>
        </p:spPr>
      </p:pic>
      <p:sp>
        <p:nvSpPr>
          <p:cNvPr id="10" name="Content Placeholder 1">
            <a:extLst>
              <a:ext uri="{FF2B5EF4-FFF2-40B4-BE49-F238E27FC236}">
                <a16:creationId xmlns:a16="http://schemas.microsoft.com/office/drawing/2014/main" id="{5276831C-7CDA-6C75-7A13-4AC8C6F43148}"/>
              </a:ext>
            </a:extLst>
          </p:cNvPr>
          <p:cNvSpPr>
            <a:spLocks noGrp="1"/>
          </p:cNvSpPr>
          <p:nvPr>
            <p:ph type="body" sz="half" idx="10"/>
          </p:nvPr>
        </p:nvSpPr>
        <p:spPr>
          <a:xfrm>
            <a:off x="6697497" y="2829965"/>
            <a:ext cx="4814047" cy="2592573"/>
          </a:xfrm>
        </p:spPr>
        <p:txBody>
          <a:bodyPr lIns="36000" tIns="36000" rIns="36000" bIns="36000" anchor="ctr">
            <a:normAutofit/>
          </a:bodyPr>
          <a:lstStyle/>
          <a:p>
            <a:pPr marL="36000" indent="0">
              <a:spcBef>
                <a:spcPts val="600"/>
              </a:spcBef>
              <a:buNone/>
            </a:pPr>
            <a:r>
              <a:rPr lang="en-US" sz="1800" b="1" noProof="0" dirty="0"/>
              <a:t>System installation:</a:t>
            </a:r>
          </a:p>
          <a:p>
            <a:pPr marL="36000">
              <a:spcBef>
                <a:spcPts val="600"/>
              </a:spcBef>
            </a:pPr>
            <a:r>
              <a:rPr lang="en-US" sz="1800" noProof="0" dirty="0"/>
              <a:t>Installed on laptop</a:t>
            </a:r>
            <a:endParaRPr lang="en-US" sz="1800" b="0" noProof="0" dirty="0"/>
          </a:p>
          <a:p>
            <a:pPr marL="36000" indent="0">
              <a:spcBef>
                <a:spcPts val="600"/>
              </a:spcBef>
              <a:buNone/>
            </a:pPr>
            <a:endParaRPr lang="en-US" sz="1800" b="1" noProof="0" dirty="0"/>
          </a:p>
          <a:p>
            <a:pPr marL="36000" indent="0">
              <a:spcBef>
                <a:spcPts val="600"/>
              </a:spcBef>
              <a:buNone/>
            </a:pPr>
            <a:r>
              <a:rPr lang="en-US" sz="1800" b="1" noProof="0" dirty="0"/>
              <a:t>Database backup</a:t>
            </a:r>
            <a:r>
              <a:rPr lang="en-US" sz="1800" noProof="0" dirty="0"/>
              <a:t> </a:t>
            </a:r>
          </a:p>
          <a:p>
            <a:pPr marL="36000" indent="-285750">
              <a:spcBef>
                <a:spcPts val="600"/>
              </a:spcBef>
              <a:buFont typeface="Arial" panose="020B0604020202020204" pitchFamily="34" charset="0"/>
              <a:buChar char="•"/>
            </a:pPr>
            <a:r>
              <a:rPr lang="en-US" sz="1800" b="0" noProof="0" dirty="0"/>
              <a:t>Database running on local laptop</a:t>
            </a:r>
          </a:p>
          <a:p>
            <a:pPr marL="36000" indent="-285750">
              <a:spcBef>
                <a:spcPts val="600"/>
              </a:spcBef>
              <a:buFont typeface="Arial" panose="020B0604020202020204" pitchFamily="34" charset="0"/>
              <a:buChar char="•"/>
            </a:pPr>
            <a:r>
              <a:rPr lang="en-US" sz="1800" noProof="0" dirty="0"/>
              <a:t>Centralized database on server</a:t>
            </a:r>
          </a:p>
          <a:p>
            <a:pPr marL="36000" indent="-285750">
              <a:spcBef>
                <a:spcPts val="600"/>
              </a:spcBef>
              <a:buFont typeface="Arial" panose="020B0604020202020204" pitchFamily="34" charset="0"/>
              <a:buChar char="•"/>
            </a:pPr>
            <a:r>
              <a:rPr lang="en-US" sz="1800" b="0" noProof="0" dirty="0"/>
              <a:t>Data regularly transmitted to server via Auto-transfer-tool</a:t>
            </a:r>
          </a:p>
        </p:txBody>
      </p:sp>
      <p:pic>
        <p:nvPicPr>
          <p:cNvPr id="5" name="Picture 4" descr="A computer with a keyboard and mouse&#10;&#10;AI-generated content may be incorrect.">
            <a:extLst>
              <a:ext uri="{FF2B5EF4-FFF2-40B4-BE49-F238E27FC236}">
                <a16:creationId xmlns:a16="http://schemas.microsoft.com/office/drawing/2014/main" id="{1690BCD4-EF05-8A4A-7B92-16EB46B20BC5}"/>
              </a:ext>
            </a:extLst>
          </p:cNvPr>
          <p:cNvPicPr>
            <a:picLocks noChangeAspect="1"/>
          </p:cNvPicPr>
          <p:nvPr/>
        </p:nvPicPr>
        <p:blipFill>
          <a:blip r:embed="rId7"/>
          <a:srcRect l="63681"/>
          <a:stretch>
            <a:fillRect/>
          </a:stretch>
        </p:blipFill>
        <p:spPr>
          <a:xfrm>
            <a:off x="3886115" y="2949641"/>
            <a:ext cx="1555885" cy="1955751"/>
          </a:xfrm>
          <a:prstGeom prst="rect">
            <a:avLst/>
          </a:prstGeom>
        </p:spPr>
      </p:pic>
      <p:pic>
        <p:nvPicPr>
          <p:cNvPr id="6" name="Graphic 5" descr="Database with solid fill">
            <a:extLst>
              <a:ext uri="{FF2B5EF4-FFF2-40B4-BE49-F238E27FC236}">
                <a16:creationId xmlns:a16="http://schemas.microsoft.com/office/drawing/2014/main" id="{C4FF8C51-D85F-899A-1109-6B91C7C931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88260" y="3962908"/>
            <a:ext cx="1055371" cy="1055371"/>
          </a:xfrm>
          <a:prstGeom prst="rect">
            <a:avLst/>
          </a:prstGeom>
        </p:spPr>
      </p:pic>
      <p:cxnSp>
        <p:nvCxnSpPr>
          <p:cNvPr id="7" name="Straight Arrow Connector 6">
            <a:extLst>
              <a:ext uri="{FF2B5EF4-FFF2-40B4-BE49-F238E27FC236}">
                <a16:creationId xmlns:a16="http://schemas.microsoft.com/office/drawing/2014/main" id="{EB3FDACE-A138-E0E7-FDF6-C25209F4A568}"/>
              </a:ext>
            </a:extLst>
          </p:cNvPr>
          <p:cNvCxnSpPr>
            <a:cxnSpLocks/>
          </p:cNvCxnSpPr>
          <p:nvPr/>
        </p:nvCxnSpPr>
        <p:spPr>
          <a:xfrm>
            <a:off x="1917682" y="2658223"/>
            <a:ext cx="1819160" cy="573146"/>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F7BC9F35-894D-52A0-1E18-D19EA0C8064A}"/>
              </a:ext>
            </a:extLst>
          </p:cNvPr>
          <p:cNvCxnSpPr>
            <a:cxnSpLocks/>
          </p:cNvCxnSpPr>
          <p:nvPr/>
        </p:nvCxnSpPr>
        <p:spPr>
          <a:xfrm flipV="1">
            <a:off x="2165698" y="3990282"/>
            <a:ext cx="1495003" cy="15529"/>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84C142F9-9C11-93C4-6C22-2440CD6A51A9}"/>
              </a:ext>
            </a:extLst>
          </p:cNvPr>
          <p:cNvCxnSpPr>
            <a:cxnSpLocks/>
          </p:cNvCxnSpPr>
          <p:nvPr/>
        </p:nvCxnSpPr>
        <p:spPr>
          <a:xfrm flipV="1">
            <a:off x="2112774" y="4670459"/>
            <a:ext cx="1578874" cy="542912"/>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FAA6CEC-DD3E-3524-D196-A8C9E6F2DF1D}"/>
              </a:ext>
            </a:extLst>
          </p:cNvPr>
          <p:cNvGrpSpPr/>
          <p:nvPr/>
        </p:nvGrpSpPr>
        <p:grpSpPr>
          <a:xfrm>
            <a:off x="692185" y="1897654"/>
            <a:ext cx="1819815" cy="1247072"/>
            <a:chOff x="1694420" y="4001191"/>
            <a:chExt cx="1819815" cy="1247072"/>
          </a:xfrm>
        </p:grpSpPr>
        <p:pic>
          <p:nvPicPr>
            <p:cNvPr id="15" name="Picture 14" descr="A computer with a check mark on the screen&#10;&#10;AI-generated content may be incorrect.">
              <a:extLst>
                <a:ext uri="{FF2B5EF4-FFF2-40B4-BE49-F238E27FC236}">
                  <a16:creationId xmlns:a16="http://schemas.microsoft.com/office/drawing/2014/main" id="{CF46EB71-0DBF-19F7-6A94-58C76F109397}"/>
                </a:ext>
              </a:extLst>
            </p:cNvPr>
            <p:cNvPicPr>
              <a:picLocks noChangeAspect="1"/>
            </p:cNvPicPr>
            <p:nvPr/>
          </p:nvPicPr>
          <p:blipFill>
            <a:blip r:embed="rId8"/>
            <a:stretch>
              <a:fillRect/>
            </a:stretch>
          </p:blipFill>
          <p:spPr>
            <a:xfrm>
              <a:off x="1694420" y="4001191"/>
              <a:ext cx="1819815" cy="1247072"/>
            </a:xfrm>
            <a:prstGeom prst="rect">
              <a:avLst/>
            </a:prstGeom>
          </p:spPr>
        </p:pic>
        <p:pic>
          <p:nvPicPr>
            <p:cNvPr id="16" name="Graphic 15" descr="Database with solid fill">
              <a:extLst>
                <a:ext uri="{FF2B5EF4-FFF2-40B4-BE49-F238E27FC236}">
                  <a16:creationId xmlns:a16="http://schemas.microsoft.com/office/drawing/2014/main" id="{59925B6C-B267-1807-0B9F-C353EEDC1E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66317">
              <a:off x="2750339" y="4341018"/>
              <a:ext cx="339156" cy="339156"/>
            </a:xfrm>
            <a:prstGeom prst="rect">
              <a:avLst/>
            </a:prstGeom>
          </p:spPr>
        </p:pic>
      </p:grpSp>
      <p:grpSp>
        <p:nvGrpSpPr>
          <p:cNvPr id="17" name="Group 16">
            <a:extLst>
              <a:ext uri="{FF2B5EF4-FFF2-40B4-BE49-F238E27FC236}">
                <a16:creationId xmlns:a16="http://schemas.microsoft.com/office/drawing/2014/main" id="{6BACD04F-8B08-C7F4-8ACC-40C7B1B8A685}"/>
              </a:ext>
            </a:extLst>
          </p:cNvPr>
          <p:cNvGrpSpPr/>
          <p:nvPr/>
        </p:nvGrpSpPr>
        <p:grpSpPr>
          <a:xfrm>
            <a:off x="696630" y="3223020"/>
            <a:ext cx="1819815" cy="1247072"/>
            <a:chOff x="1694420" y="4001191"/>
            <a:chExt cx="1819815" cy="1247072"/>
          </a:xfrm>
        </p:grpSpPr>
        <p:pic>
          <p:nvPicPr>
            <p:cNvPr id="18" name="Picture 17" descr="A computer with a check mark on the screen&#10;&#10;AI-generated content may be incorrect.">
              <a:extLst>
                <a:ext uri="{FF2B5EF4-FFF2-40B4-BE49-F238E27FC236}">
                  <a16:creationId xmlns:a16="http://schemas.microsoft.com/office/drawing/2014/main" id="{4AB3F76D-1852-20FA-4E89-FBDEBBFF253F}"/>
                </a:ext>
              </a:extLst>
            </p:cNvPr>
            <p:cNvPicPr>
              <a:picLocks noChangeAspect="1"/>
            </p:cNvPicPr>
            <p:nvPr/>
          </p:nvPicPr>
          <p:blipFill>
            <a:blip r:embed="rId8"/>
            <a:stretch>
              <a:fillRect/>
            </a:stretch>
          </p:blipFill>
          <p:spPr>
            <a:xfrm>
              <a:off x="1694420" y="4001191"/>
              <a:ext cx="1819815" cy="1247072"/>
            </a:xfrm>
            <a:prstGeom prst="rect">
              <a:avLst/>
            </a:prstGeom>
          </p:spPr>
        </p:pic>
        <p:pic>
          <p:nvPicPr>
            <p:cNvPr id="19" name="Graphic 18" descr="Database with solid fill">
              <a:extLst>
                <a:ext uri="{FF2B5EF4-FFF2-40B4-BE49-F238E27FC236}">
                  <a16:creationId xmlns:a16="http://schemas.microsoft.com/office/drawing/2014/main" id="{B05BF24A-E317-A70F-4F61-546B03CE1F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66317">
              <a:off x="2750339" y="4341018"/>
              <a:ext cx="339156" cy="339156"/>
            </a:xfrm>
            <a:prstGeom prst="rect">
              <a:avLst/>
            </a:prstGeom>
          </p:spPr>
        </p:pic>
      </p:grpSp>
      <p:grpSp>
        <p:nvGrpSpPr>
          <p:cNvPr id="20" name="Group 19">
            <a:extLst>
              <a:ext uri="{FF2B5EF4-FFF2-40B4-BE49-F238E27FC236}">
                <a16:creationId xmlns:a16="http://schemas.microsoft.com/office/drawing/2014/main" id="{080CC3E6-204C-397C-7895-61A89ECD7508}"/>
              </a:ext>
            </a:extLst>
          </p:cNvPr>
          <p:cNvGrpSpPr/>
          <p:nvPr/>
        </p:nvGrpSpPr>
        <p:grpSpPr>
          <a:xfrm>
            <a:off x="692185" y="4508874"/>
            <a:ext cx="1819815" cy="1247072"/>
            <a:chOff x="1694420" y="4001191"/>
            <a:chExt cx="1819815" cy="1247072"/>
          </a:xfrm>
        </p:grpSpPr>
        <p:pic>
          <p:nvPicPr>
            <p:cNvPr id="21" name="Picture 20" descr="A computer with a check mark on the screen&#10;&#10;AI-generated content may be incorrect.">
              <a:extLst>
                <a:ext uri="{FF2B5EF4-FFF2-40B4-BE49-F238E27FC236}">
                  <a16:creationId xmlns:a16="http://schemas.microsoft.com/office/drawing/2014/main" id="{662428B3-5F23-EAB4-DD0D-E3FFF1C7D55F}"/>
                </a:ext>
              </a:extLst>
            </p:cNvPr>
            <p:cNvPicPr>
              <a:picLocks noChangeAspect="1"/>
            </p:cNvPicPr>
            <p:nvPr/>
          </p:nvPicPr>
          <p:blipFill>
            <a:blip r:embed="rId8"/>
            <a:stretch>
              <a:fillRect/>
            </a:stretch>
          </p:blipFill>
          <p:spPr>
            <a:xfrm>
              <a:off x="1694420" y="4001191"/>
              <a:ext cx="1819815" cy="1247072"/>
            </a:xfrm>
            <a:prstGeom prst="rect">
              <a:avLst/>
            </a:prstGeom>
          </p:spPr>
        </p:pic>
        <p:pic>
          <p:nvPicPr>
            <p:cNvPr id="22" name="Graphic 21" descr="Database with solid fill">
              <a:extLst>
                <a:ext uri="{FF2B5EF4-FFF2-40B4-BE49-F238E27FC236}">
                  <a16:creationId xmlns:a16="http://schemas.microsoft.com/office/drawing/2014/main" id="{039DEB7F-5C2B-3475-0879-ADB4E9A905F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66317">
              <a:off x="2750339" y="4341018"/>
              <a:ext cx="339156" cy="339156"/>
            </a:xfrm>
            <a:prstGeom prst="rect">
              <a:avLst/>
            </a:prstGeom>
          </p:spPr>
        </p:pic>
      </p:grpSp>
      <p:grpSp>
        <p:nvGrpSpPr>
          <p:cNvPr id="23" name="Group 22">
            <a:extLst>
              <a:ext uri="{FF2B5EF4-FFF2-40B4-BE49-F238E27FC236}">
                <a16:creationId xmlns:a16="http://schemas.microsoft.com/office/drawing/2014/main" id="{695D2861-35AC-D39C-99B2-5CEB067C497B}"/>
              </a:ext>
            </a:extLst>
          </p:cNvPr>
          <p:cNvGrpSpPr/>
          <p:nvPr/>
        </p:nvGrpSpPr>
        <p:grpSpPr>
          <a:xfrm>
            <a:off x="2444067" y="2283399"/>
            <a:ext cx="1093132" cy="1093132"/>
            <a:chOff x="3744741" y="2694175"/>
            <a:chExt cx="1093132" cy="1093132"/>
          </a:xfrm>
        </p:grpSpPr>
        <p:pic>
          <p:nvPicPr>
            <p:cNvPr id="24" name="Graphic 23" descr="Cloud with solid fill">
              <a:extLst>
                <a:ext uri="{FF2B5EF4-FFF2-40B4-BE49-F238E27FC236}">
                  <a16:creationId xmlns:a16="http://schemas.microsoft.com/office/drawing/2014/main" id="{FBA8419A-4E89-DDCF-6920-F77633F2AAD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44741" y="2694175"/>
              <a:ext cx="1093132" cy="1093132"/>
            </a:xfrm>
            <a:prstGeom prst="rect">
              <a:avLst/>
            </a:prstGeom>
          </p:spPr>
        </p:pic>
        <p:sp>
          <p:nvSpPr>
            <p:cNvPr id="25" name="TextBox 24">
              <a:extLst>
                <a:ext uri="{FF2B5EF4-FFF2-40B4-BE49-F238E27FC236}">
                  <a16:creationId xmlns:a16="http://schemas.microsoft.com/office/drawing/2014/main" id="{C0EFF49E-EAAD-D17F-9663-248B5E50A0E9}"/>
                </a:ext>
              </a:extLst>
            </p:cNvPr>
            <p:cNvSpPr txBox="1"/>
            <p:nvPr/>
          </p:nvSpPr>
          <p:spPr>
            <a:xfrm>
              <a:off x="3964831" y="3131614"/>
              <a:ext cx="626219" cy="338554"/>
            </a:xfrm>
            <a:prstGeom prst="rect">
              <a:avLst/>
            </a:prstGeom>
            <a:noFill/>
          </p:spPr>
          <p:txBody>
            <a:bodyPr wrap="square" rtlCol="0">
              <a:spAutoFit/>
            </a:bodyPr>
            <a:lstStyle/>
            <a:p>
              <a:pPr algn="ctr"/>
              <a:r>
                <a:rPr lang="en-US" sz="1600" b="1" dirty="0">
                  <a:solidFill>
                    <a:schemeClr val="bg2"/>
                  </a:solidFill>
                  <a:latin typeface="+mj-lt"/>
                </a:rPr>
                <a:t>VPN</a:t>
              </a:r>
            </a:p>
          </p:txBody>
        </p:sp>
      </p:grpSp>
    </p:spTree>
    <p:extLst>
      <p:ext uri="{BB962C8B-B14F-4D97-AF65-F5344CB8AC3E}">
        <p14:creationId xmlns:p14="http://schemas.microsoft.com/office/powerpoint/2010/main" val="461582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1017088-36D7-45E9-9106-8C64A501F278}"/>
    </a:ext>
  </a:extLst>
</a:theme>
</file>

<file path=ppt/theme/theme2.xml><?xml version="1.0" encoding="utf-8"?>
<a:theme xmlns:a="http://schemas.openxmlformats.org/drawingml/2006/main" name="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38D3DC4F-CBF3-41EA-92C1-7B7AFD63B46E}"/>
    </a:ext>
  </a:extLst>
</a:theme>
</file>

<file path=ppt/theme/theme3.xml><?xml version="1.0" encoding="utf-8"?>
<a:theme xmlns:a="http://schemas.openxmlformats.org/drawingml/2006/main" name="2_ellab">
  <a:themeElements>
    <a:clrScheme name="ELLAB">
      <a:dk1>
        <a:srgbClr val="000000"/>
      </a:dk1>
      <a:lt1>
        <a:srgbClr val="FFFFFF"/>
      </a:lt1>
      <a:dk2>
        <a:srgbClr val="00004B"/>
      </a:dk2>
      <a:lt2>
        <a:srgbClr val="FFFFFF"/>
      </a:lt2>
      <a:accent1>
        <a:srgbClr val="17AAE2"/>
      </a:accent1>
      <a:accent2>
        <a:srgbClr val="ADD6EE"/>
      </a:accent2>
      <a:accent3>
        <a:srgbClr val="E9F2FA"/>
      </a:accent3>
      <a:accent4>
        <a:srgbClr val="00004B"/>
      </a:accent4>
      <a:accent5>
        <a:srgbClr val="7BC70F"/>
      </a:accent5>
      <a:accent6>
        <a:srgbClr val="A01966"/>
      </a:accent6>
      <a:hlink>
        <a:srgbClr val="00AEEF"/>
      </a:hlink>
      <a:folHlink>
        <a:srgbClr val="FBB040"/>
      </a:folHlink>
    </a:clrScheme>
    <a:fontScheme name="Ellab Sans">
      <a:majorFont>
        <a:latin typeface="Ellab Sans"/>
        <a:ea typeface=""/>
        <a:cs typeface=""/>
      </a:majorFont>
      <a:minorFont>
        <a:latin typeface="Ella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llab PowerPoint Template - 2025" id="{A4A39508-DA8E-4CE9-A6BE-AD1AE10BEAF0}" vid="{ED1DF473-2E3E-4D8A-A5F2-0AFC77710401}"/>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D85917EED12C24EA92567B3E59355C3" ma:contentTypeVersion="4" ma:contentTypeDescription="Opret et nyt dokument." ma:contentTypeScope="" ma:versionID="67775e14debc030495f1b2d46cb7ef79">
  <xsd:schema xmlns:xsd="http://www.w3.org/2001/XMLSchema" xmlns:xs="http://www.w3.org/2001/XMLSchema" xmlns:p="http://schemas.microsoft.com/office/2006/metadata/properties" xmlns:ns2="1b56d729-4f7b-4b6d-bded-94e2c20c3e19" targetNamespace="http://schemas.microsoft.com/office/2006/metadata/properties" ma:root="true" ma:fieldsID="00484d89212abbfc6164b99513bf4724" ns2:_="">
    <xsd:import namespace="1b56d729-4f7b-4b6d-bded-94e2c20c3e1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56d729-4f7b-4b6d-bded-94e2c20c3e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C83DAA-853C-437C-B82B-B636A6EE8D1A}">
  <ds:schemaRefs>
    <ds:schemaRef ds:uri="http://purl.org/dc/elements/1.1/"/>
    <ds:schemaRef ds:uri="http://purl.org/dc/terms/"/>
    <ds:schemaRef ds:uri="http://purl.org/dc/dcmitype/"/>
    <ds:schemaRef ds:uri="http://schemas.microsoft.com/office/2006/documentManagement/types"/>
    <ds:schemaRef ds:uri="1b56d729-4f7b-4b6d-bded-94e2c20c3e19"/>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EE1A8A4B-7B04-4468-81E0-CFF63620C7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56d729-4f7b-4b6d-bded-94e2c20c3e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152EEB7-FEF9-42EB-817A-C2264CECDDF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306</TotalTime>
  <Words>1074</Words>
  <Application>Microsoft Office PowerPoint</Application>
  <PresentationFormat>Widescreen</PresentationFormat>
  <Paragraphs>169</Paragraphs>
  <Slides>14</Slides>
  <Notes>5</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3" baseType="lpstr">
      <vt:lpstr>Calibri</vt:lpstr>
      <vt:lpstr>Aptos</vt:lpstr>
      <vt:lpstr>Ellab Sans</vt:lpstr>
      <vt:lpstr>Ellab Sans SemiBold</vt:lpstr>
      <vt:lpstr>Arial</vt:lpstr>
      <vt:lpstr>1_ellab</vt:lpstr>
      <vt:lpstr>ellab</vt:lpstr>
      <vt:lpstr>2_ellab</vt:lpstr>
      <vt:lpstr>think-cell Slide</vt:lpstr>
      <vt:lpstr>ValSuite® Software Features</vt:lpstr>
      <vt:lpstr>Validation Software</vt:lpstr>
      <vt:lpstr>ValSuite® Software Highlights</vt:lpstr>
      <vt:lpstr>ValSuite Software Highlights</vt:lpstr>
      <vt:lpstr>ValSuite Software Highlights</vt:lpstr>
      <vt:lpstr>Software Architecture</vt:lpstr>
      <vt:lpstr>Default Installation - Local</vt:lpstr>
      <vt:lpstr>Server-Client Installation</vt:lpstr>
      <vt:lpstr>Server-Portable-Client Installation</vt:lpstr>
      <vt:lpstr>Connecting Remote Sites via VPN</vt:lpstr>
      <vt:lpstr>Mixed Configuration</vt:lpstr>
      <vt:lpstr>Server-Client Installation</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eksandra Szejko</dc:creator>
  <cp:lastModifiedBy>Aleksandra Szejko</cp:lastModifiedBy>
  <cp:revision>1</cp:revision>
  <dcterms:created xsi:type="dcterms:W3CDTF">2025-07-15T10:54:41Z</dcterms:created>
  <dcterms:modified xsi:type="dcterms:W3CDTF">2025-07-17T09:0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5917EED12C24EA92567B3E59355C3</vt:lpwstr>
  </property>
  <property fmtid="{D5CDD505-2E9C-101B-9397-08002B2CF9AE}" pid="3" name="MediaServiceImageTags">
    <vt:lpwstr/>
  </property>
</Properties>
</file>